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embeddings/oleObject1.bin" ContentType="application/vnd.openxmlformats-officedocument.oleObject"/>
  <Override PartName="/ppt/embeddings/oleObject2.bin" ContentType="application/vnd.openxmlformats-officedocument.oleObject"/>
  <Override PartName="/ppt/handoutMasters/handoutMaster1.xml" ContentType="application/vnd.openxmlformats-officedocument.presentationml.handoutMaster+xml"/>
  <Override PartName="/ppt/media/image18.svg" ContentType="image/svg+xml"/>
  <Override PartName="/ppt/media/image2.svg" ContentType="image/svg+xml"/>
  <Override PartName="/ppt/media/image4.svg" ContentType="image/svg+xml"/>
  <Override PartName="/ppt/media/image6.svg" ContentType="image/svg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5"/>
  </p:sldMasterIdLst>
  <p:notesMasterIdLst>
    <p:notesMasterId r:id="rId18"/>
  </p:notesMasterIdLst>
  <p:handoutMasterIdLst>
    <p:handoutMasterId r:id="rId19"/>
  </p:handoutMasterIdLst>
  <p:sldIdLst>
    <p:sldId id="260" r:id="rId6"/>
    <p:sldId id="261" r:id="rId7"/>
    <p:sldId id="265" r:id="rId8"/>
    <p:sldId id="263" r:id="rId9"/>
    <p:sldId id="264" r:id="rId10"/>
    <p:sldId id="262" r:id="rId11"/>
    <p:sldId id="266" r:id="rId12"/>
    <p:sldId id="267" r:id="rId13"/>
    <p:sldId id="268" r:id="rId14"/>
    <p:sldId id="269" r:id="rId15"/>
    <p:sldId id="270" r:id="rId16"/>
    <p:sldId id="271" r:id="rId17"/>
  </p:sldIdLst>
  <p:sldSz cx="9144000" cy="5143500" type="screen16x9"/>
  <p:notesSz cx="6797675" cy="9926638"/>
  <p:embeddedFontLst>
    <p:embeddedFont>
      <p:font typeface="Arial Black" panose="020B0A04020102020204" pitchFamily="34" charset="0"/>
      <p:bold r:id="rId20"/>
    </p:embeddedFont>
    <p:embeddedFont>
      <p:font typeface="Orsted Sans Office" panose="00000500000000000000" pitchFamily="2" charset="0"/>
      <p:regular r:id="rId21"/>
      <p:bold r:id="rId22"/>
      <p:italic r:id="rId23"/>
      <p:boldItalic r:id="rId24"/>
    </p:embeddedFont>
  </p:embeddedFontLst>
  <p:custDataLst>
    <p:tags r:id="rId25"/>
  </p:custDataLst>
  <p:defaultTextStyle>
    <a:defPPr>
      <a:defRPr lang="en-US"/>
    </a:defPPr>
    <a:lvl1pPr marL="0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1pPr>
    <a:lvl2pPr marL="311024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2pPr>
    <a:lvl3pPr marL="622048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3pPr>
    <a:lvl4pPr marL="933073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4pPr>
    <a:lvl5pPr marL="1244097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5pPr>
    <a:lvl6pPr marL="1555121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6pPr>
    <a:lvl7pPr marL="1866145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7pPr>
    <a:lvl8pPr marL="2177169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8pPr>
    <a:lvl9pPr marL="2488193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910" autoAdjust="0"/>
  </p:normalViewPr>
  <p:slideViewPr>
    <p:cSldViewPr snapToGrid="0" showGuides="1">
      <p:cViewPr varScale="1">
        <p:scale>
          <a:sx n="130" d="100"/>
          <a:sy n="130" d="100"/>
        </p:scale>
        <p:origin x="110" y="91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5" d="100"/>
          <a:sy n="85" d="100"/>
        </p:scale>
        <p:origin x="2508" y="108"/>
      </p:cViewPr>
      <p:guideLst/>
    </p:cSldViewPr>
  </p:notesViewPr>
  <p:gridSpacing cx="72008" cy="72008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customXml" Target="../customXml/item1.xml"/><Relationship Id="rId10" Type="http://schemas.openxmlformats.org/officeDocument/2006/relationships/slide" Target="slides/slide5.xml"/><Relationship Id="rId11" Type="http://schemas.openxmlformats.org/officeDocument/2006/relationships/slide" Target="slides/slide6.xml"/><Relationship Id="rId12" Type="http://schemas.openxmlformats.org/officeDocument/2006/relationships/slide" Target="slides/slide7.xml"/><Relationship Id="rId13" Type="http://schemas.openxmlformats.org/officeDocument/2006/relationships/slide" Target="slides/slide8.xml"/><Relationship Id="rId14" Type="http://schemas.openxmlformats.org/officeDocument/2006/relationships/slide" Target="slides/slide9.xml"/><Relationship Id="rId15" Type="http://schemas.openxmlformats.org/officeDocument/2006/relationships/slide" Target="slides/slide10.xml"/><Relationship Id="rId16" Type="http://schemas.openxmlformats.org/officeDocument/2006/relationships/slide" Target="slides/slide11.xml"/><Relationship Id="rId17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19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20" Type="http://schemas.openxmlformats.org/officeDocument/2006/relationships/font" Target="fonts/font1.fntdata"/><Relationship Id="rId21" Type="http://schemas.openxmlformats.org/officeDocument/2006/relationships/font" Target="fonts/font2.fntdata"/><Relationship Id="rId22" Type="http://schemas.openxmlformats.org/officeDocument/2006/relationships/font" Target="fonts/font3.fntdata"/><Relationship Id="rId23" Type="http://schemas.openxmlformats.org/officeDocument/2006/relationships/font" Target="fonts/font4.fntdata"/><Relationship Id="rId24" Type="http://schemas.openxmlformats.org/officeDocument/2006/relationships/font" Target="fonts/font5.fntdata"/><Relationship Id="rId25" Type="http://schemas.openxmlformats.org/officeDocument/2006/relationships/tags" Target="tags/tag1.xml"/><Relationship Id="rId26" Type="http://schemas.openxmlformats.org/officeDocument/2006/relationships/presProps" Target="presProps.xml"/><Relationship Id="rId27" Type="http://schemas.openxmlformats.org/officeDocument/2006/relationships/viewProps" Target="viewProps.xml"/><Relationship Id="rId28" Type="http://schemas.openxmlformats.org/officeDocument/2006/relationships/theme" Target="theme/theme1.xml"/><Relationship Id="rId29" Type="http://schemas.openxmlformats.org/officeDocument/2006/relationships/tableStyles" Target="tableStyles.xml"/><Relationship Id="rId3" Type="http://schemas.openxmlformats.org/officeDocument/2006/relationships/customXml" Target="../customXml/item3.xml"/><Relationship Id="rId4" Type="http://schemas.openxmlformats.org/officeDocument/2006/relationships/customXml" Target="../customXml/item4.xml"/><Relationship Id="rId5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7" Type="http://schemas.openxmlformats.org/officeDocument/2006/relationships/slide" Target="slides/slide2.xml"/><Relationship Id="rId8" Type="http://schemas.openxmlformats.org/officeDocument/2006/relationships/slide" Target="slides/slide3.xml"/><Relationship Id="rId9" Type="http://schemas.openxmlformats.org/officeDocument/2006/relationships/slide" Target="slides/slide4.xml"/></Relationships>
</file>

<file path=ppt/handoutMasters/_rels/handout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3.xml"/><Relationship Id="rId2" Type="http://schemas.openxmlformats.org/officeDocument/2006/relationships/image" Target="../media/image17.png"/><Relationship Id="rId3" Type="http://schemas.openxmlformats.org/officeDocument/2006/relationships/image" Target="../media/image18.svg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Logo">
            <a:extLst>
              <a:ext uri="{FF2B5EF4-FFF2-40B4-BE49-F238E27FC236}">
                <a16:creationId xmlns:a16="http://schemas.microsoft.com/office/drawing/2014/main" id="{55D4A059-9CB7-4984-A0A3-D1ED63D233B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082" y="812331"/>
            <a:ext cx="426186" cy="116906"/>
          </a:xfrm>
          <a:prstGeom prst="rect">
            <a:avLst/>
          </a:prstGeom>
        </p:spPr>
      </p:pic>
      <p:sp>
        <p:nvSpPr>
          <p:cNvPr id="11" name="Date Placeholder 8">
            <a:extLst>
              <a:ext uri="{FF2B5EF4-FFF2-40B4-BE49-F238E27FC236}">
                <a16:creationId xmlns:a16="http://schemas.microsoft.com/office/drawing/2014/main" id="{4633693E-3C11-4318-8416-FD574D655A2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760535" y="9296122"/>
            <a:ext cx="159259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B3831213-7E75-4F0D-9DD0-8445D05C01D9}" type="datetime4">
              <a:rPr lang="en-GB" smtClean="0"/>
              <a:t>07 December 2023</a:t>
            </a:fld>
            <a:endParaRPr lang="en-GB" sz="800" dirty="0"/>
          </a:p>
        </p:txBody>
      </p:sp>
      <p:sp>
        <p:nvSpPr>
          <p:cNvPr id="12" name="Slide Number Placeholder 9">
            <a:extLst>
              <a:ext uri="{FF2B5EF4-FFF2-40B4-BE49-F238E27FC236}">
                <a16:creationId xmlns:a16="http://schemas.microsoft.com/office/drawing/2014/main" id="{A33D291B-924F-480C-AD65-DA290819DD6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760535" y="9114307"/>
            <a:ext cx="159259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 sz="800" dirty="0"/>
          </a:p>
        </p:txBody>
      </p:sp>
      <p:sp>
        <p:nvSpPr>
          <p:cNvPr id="13" name="Footer Placeholder 10">
            <a:extLst>
              <a:ext uri="{FF2B5EF4-FFF2-40B4-BE49-F238E27FC236}">
                <a16:creationId xmlns:a16="http://schemas.microsoft.com/office/drawing/2014/main" id="{2DA5D32F-AFD1-4C4E-B7BA-2A7E27AC1F8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446366" y="9296122"/>
            <a:ext cx="430853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  <p:sp>
        <p:nvSpPr>
          <p:cNvPr id="14" name="Header Placeholder 12">
            <a:extLst>
              <a:ext uri="{FF2B5EF4-FFF2-40B4-BE49-F238E27FC236}">
                <a16:creationId xmlns:a16="http://schemas.microsoft.com/office/drawing/2014/main" id="{885522CB-BE4D-4C54-AC40-77FA61C599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446366" y="9114307"/>
            <a:ext cx="430853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.xml"/><Relationship Id="rId2" Type="http://schemas.openxmlformats.org/officeDocument/2006/relationships/image" Target="../media/image17.png"/><Relationship Id="rId3" Type="http://schemas.openxmlformats.org/officeDocument/2006/relationships/image" Target="../media/image18.svg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Notes Placeholder 7">
            <a:extLst>
              <a:ext uri="{FF2B5EF4-FFF2-40B4-BE49-F238E27FC236}">
                <a16:creationId xmlns:a16="http://schemas.microsoft.com/office/drawing/2014/main" id="{65382C8C-4ED1-42DD-AB05-337D0583757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360000" y="5833536"/>
            <a:ext cx="6138000" cy="311094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Slide Image Placeholder 11">
            <a:extLst>
              <a:ext uri="{FF2B5EF4-FFF2-40B4-BE49-F238E27FC236}">
                <a16:creationId xmlns:a16="http://schemas.microsoft.com/office/drawing/2014/main" id="{E40FA224-93DF-490C-8EF6-1DE161414D0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60000" y="1479581"/>
            <a:ext cx="6138000" cy="3452479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pic>
        <p:nvPicPr>
          <p:cNvPr id="16" name="Logo">
            <a:extLst>
              <a:ext uri="{FF2B5EF4-FFF2-40B4-BE49-F238E27FC236}">
                <a16:creationId xmlns:a16="http://schemas.microsoft.com/office/drawing/2014/main" id="{2B8AF8AA-2837-4EB0-9BA5-AC7AA02F4D6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0000" y="718813"/>
            <a:ext cx="426186" cy="116906"/>
          </a:xfrm>
          <a:prstGeom prst="rect">
            <a:avLst/>
          </a:prstGeom>
        </p:spPr>
      </p:pic>
      <p:sp>
        <p:nvSpPr>
          <p:cNvPr id="17" name="Date Placeholder 8">
            <a:extLst>
              <a:ext uri="{FF2B5EF4-FFF2-40B4-BE49-F238E27FC236}">
                <a16:creationId xmlns:a16="http://schemas.microsoft.com/office/drawing/2014/main" id="{A1944BE7-84FA-4710-BA57-4BE2B0CF485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760535" y="9389640"/>
            <a:ext cx="173746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9046EAA-4433-4C92-B735-B22741F67B10}" type="datetime4">
              <a:rPr lang="en-GB" smtClean="0"/>
              <a:t>07 December 2023</a:t>
            </a:fld>
            <a:endParaRPr lang="en-GB" sz="800" dirty="0"/>
          </a:p>
        </p:txBody>
      </p:sp>
      <p:sp>
        <p:nvSpPr>
          <p:cNvPr id="18" name="Slide Number Placeholder 9">
            <a:extLst>
              <a:ext uri="{FF2B5EF4-FFF2-40B4-BE49-F238E27FC236}">
                <a16:creationId xmlns:a16="http://schemas.microsoft.com/office/drawing/2014/main" id="{A8626F51-F86B-400E-AE20-9296DDB807C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760535" y="9207825"/>
            <a:ext cx="173746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 sz="800"/>
          </a:p>
        </p:txBody>
      </p:sp>
      <p:sp>
        <p:nvSpPr>
          <p:cNvPr id="19" name="Footer Placeholder 10">
            <a:extLst>
              <a:ext uri="{FF2B5EF4-FFF2-40B4-BE49-F238E27FC236}">
                <a16:creationId xmlns:a16="http://schemas.microsoft.com/office/drawing/2014/main" id="{B6C896A7-B7DA-42DE-8F37-AB19E0AE228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53656" y="9389640"/>
            <a:ext cx="440124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/>
          </a:p>
        </p:txBody>
      </p:sp>
      <p:sp>
        <p:nvSpPr>
          <p:cNvPr id="20" name="Header Placeholder 12">
            <a:extLst>
              <a:ext uri="{FF2B5EF4-FFF2-40B4-BE49-F238E27FC236}">
                <a16:creationId xmlns:a16="http://schemas.microsoft.com/office/drawing/2014/main" id="{52AF0052-7448-425A-A203-7EA9DA16444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353656" y="9207825"/>
            <a:ext cx="440124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1pPr>
    <a:lvl2pPr marL="311024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2pPr>
    <a:lvl3pPr marL="622048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3pPr>
    <a:lvl4pPr marL="933073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4pPr>
    <a:lvl5pPr marL="1244097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5pPr>
    <a:lvl6pPr marL="1555121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6pPr>
    <a:lvl7pPr marL="1866145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7pPr>
    <a:lvl8pPr marL="2177169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8pPr>
    <a:lvl9pPr marL="2488193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2.svg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2.svg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Relationship Id="rId3" Type="http://schemas.openxmlformats.org/officeDocument/2006/relationships/image" Target="../media/image4.svg"/></Relationships>
</file>

<file path=ppt/slideLayouts/_rels/slideLayout2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2.svg"/></Relationships>
</file>

<file path=ppt/slideLayouts/_rels/slideLayout2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/Relationships>
</file>

<file path=ppt/slideLayouts/_rels/slideLayout2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/Relationships>
</file>

<file path=ppt/slideLayouts/_rels/slideLayout2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Relationship Id="rId3" Type="http://schemas.openxmlformats.org/officeDocument/2006/relationships/image" Target="../media/image4.svg"/></Relationships>
</file>

<file path=ppt/slideLayouts/_rels/slideLayout29.xml.rels><?xml version='1.0' encoding='UTF-8' standalone='yes'?>
<Relationships xmlns="http://schemas.openxmlformats.org/package/2006/relationships"><Relationship Id="rId1" Type="http://schemas.openxmlformats.org/officeDocument/2006/relationships/tags" Target="../tags/tag23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.bin"/><Relationship Id="rId4" Type="http://schemas.openxmlformats.org/officeDocument/2006/relationships/image" Target="../media/image7.emf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2.svg"/></Relationships>
</file>

<file path=ppt/slideLayouts/_rels/slideLayout30.xml.rels><?xml version='1.0' encoding='UTF-8' standalone='yes'?>
<Relationships xmlns="http://schemas.openxmlformats.org/package/2006/relationships"><Relationship Id="rId1" Type="http://schemas.openxmlformats.org/officeDocument/2006/relationships/tags" Target="../tags/tag24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2.bin"/><Relationship Id="rId4" Type="http://schemas.openxmlformats.org/officeDocument/2006/relationships/image" Target="../media/image7.emf"/></Relationships>
</file>

<file path=ppt/slideLayouts/_rels/slideLayout3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10" Type="http://schemas.openxmlformats.org/officeDocument/2006/relationships/image" Target="../media/image16.png"/><Relationship Id="rId2" Type="http://schemas.openxmlformats.org/officeDocument/2006/relationships/image" Target="../media/image8.png"/><Relationship Id="rId3" Type="http://schemas.openxmlformats.org/officeDocument/2006/relationships/image" Target="../media/image9.png"/><Relationship Id="rId4" Type="http://schemas.openxmlformats.org/officeDocument/2006/relationships/image" Target="../media/image10.png"/><Relationship Id="rId5" Type="http://schemas.openxmlformats.org/officeDocument/2006/relationships/image" Target="../media/image11.png"/><Relationship Id="rId6" Type="http://schemas.openxmlformats.org/officeDocument/2006/relationships/image" Target="../media/image12.png"/><Relationship Id="rId7" Type="http://schemas.openxmlformats.org/officeDocument/2006/relationships/image" Target="../media/image13.png"/><Relationship Id="rId8" Type="http://schemas.openxmlformats.org/officeDocument/2006/relationships/image" Target="../media/image14.png"/><Relationship Id="rId9" Type="http://schemas.openxmlformats.org/officeDocument/2006/relationships/image" Target="../media/image15.png"/></Relationships>
</file>

<file path=ppt/slideLayouts/_rels/slideLayout3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/Relationships>
</file>

<file path=ppt/slideLayouts/_rels/slideLayout3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2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Logo">
            <a:extLst>
              <a:ext uri="{FF2B5EF4-FFF2-40B4-BE49-F238E27FC236}">
                <a16:creationId xmlns:a16="http://schemas.microsoft.com/office/drawing/2014/main" id="{2F74A43E-6607-46C8-B233-DB7D97BC96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432000" y="252000"/>
            <a:ext cx="826817" cy="22610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3387" y="1026000"/>
            <a:ext cx="7128000" cy="1242000"/>
          </a:xfrm>
        </p:spPr>
        <p:txBody>
          <a:bodyPr anchor="t"/>
          <a:lstStyle>
            <a:lvl1pPr algn="l" eaLnBrk="1">
              <a:lnSpc>
                <a:spcPct val="95000"/>
              </a:lnSpc>
              <a:defRPr sz="4800">
                <a:solidFill>
                  <a:schemeClr val="accent1"/>
                </a:solidFill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999" y="2516400"/>
            <a:ext cx="7128000" cy="550800"/>
          </a:xfrm>
        </p:spPr>
        <p:txBody>
          <a:bodyPr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400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432000" y="4766400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72774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dark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ggund">
            <a:extLst>
              <a:ext uri="{FF2B5EF4-FFF2-40B4-BE49-F238E27FC236}">
                <a16:creationId xmlns:a16="http://schemas.microsoft.com/office/drawing/2014/main" id="{C7711F47-ADAE-4D4A-8344-7C0529E055C3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7" name="Slide Number Placeholder 5 (FAST)" hidden="1">
            <a:extLst>
              <a:ext uri="{FF2B5EF4-FFF2-40B4-BE49-F238E27FC236}">
                <a16:creationId xmlns:a16="http://schemas.microsoft.com/office/drawing/2014/main" id="{ACF3DCE2-A025-4EC0-B360-9403076582BD}"/>
              </a:ext>
            </a:extLst>
          </p:cNvPr>
          <p:cNvSpPr txBox="1">
            <a:spLocks/>
          </p:cNvSpPr>
          <p:nvPr userDrawn="1"/>
        </p:nvSpPr>
        <p:spPr>
          <a:xfrm>
            <a:off x="8482459" y="4806209"/>
            <a:ext cx="231329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48CF170-4850-46EE-83F0-5B6A584B3BA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899" cy="514619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0" tIns="576000" bIns="0" anchor="ctr" anchorCtr="0">
            <a:noAutofit/>
          </a:bodyPr>
          <a:lstStyle>
            <a:lvl1pPr marL="0" indent="0" algn="ctr">
              <a:buNone/>
              <a:defRPr sz="1200" b="0"/>
            </a:lvl1pPr>
          </a:lstStyle>
          <a:p>
            <a:r>
              <a:rPr lang="en-GB" dirty="0"/>
              <a:t>Click icon to add dark picture or click on frame and insert picture via Templafy Images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E0E29ED-1235-44A1-A6AD-E20666D3B1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800" y="250826"/>
            <a:ext cx="6948000" cy="2052000"/>
          </a:xfrm>
        </p:spPr>
        <p:txBody>
          <a:bodyPr anchor="t" anchorCtr="0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Footer Placeholder 6" hidden="1">
            <a:extLst>
              <a:ext uri="{FF2B5EF4-FFF2-40B4-BE49-F238E27FC236}">
                <a16:creationId xmlns:a16="http://schemas.microsoft.com/office/drawing/2014/main" id="{DFF77965-4468-4EDB-BB15-0B43C7ED1170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0" name="Pladsholder til dato 12" hidden="1">
            <a:extLst>
              <a:ext uri="{FF2B5EF4-FFF2-40B4-BE49-F238E27FC236}">
                <a16:creationId xmlns:a16="http://schemas.microsoft.com/office/drawing/2014/main" id="{F450F3E5-A67D-4EF2-9F55-E28390DE874F}"/>
              </a:ext>
            </a:extLst>
          </p:cNvPr>
          <p:cNvSpPr>
            <a:spLocks noGrp="1"/>
          </p:cNvSpPr>
          <p:nvPr>
            <p:ph type="dt" sz="half" idx="24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0" name="Text Placeholder logo">
            <a:extLst>
              <a:ext uri="{FF2B5EF4-FFF2-40B4-BE49-F238E27FC236}">
                <a16:creationId xmlns:a16="http://schemas.microsoft.com/office/drawing/2014/main" id="{E15DE9C6-B56E-45C2-A1AC-1F18BB0992B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44800" y="4814424"/>
            <a:ext cx="367200" cy="100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860839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5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8D7B5B42-7771-478B-B707-451694DA94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8280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>
              <a:defRPr>
                <a:latin typeface="+mn-lt"/>
              </a:defRPr>
            </a:lvl6pPr>
            <a:lvl7pPr marL="1080000">
              <a:defRPr>
                <a:latin typeface="+mn-lt"/>
              </a:defRPr>
            </a:lvl7pPr>
            <a:lvl8pPr marL="1080000">
              <a:defRPr>
                <a:latin typeface="+mn-lt"/>
              </a:defRPr>
            </a:lvl8pPr>
            <a:lvl9pPr marL="1080000"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F4B9A18-3031-4F61-A600-7506A7A2C712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F465A8-0790-45AE-B5DE-DE51F4564890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7" name="Slide Number Placeholder 5 (FAST)">
            <a:extLst>
              <a:ext uri="{FF2B5EF4-FFF2-40B4-BE49-F238E27FC236}">
                <a16:creationId xmlns:a16="http://schemas.microsoft.com/office/drawing/2014/main" id="{2C601C15-AAC7-487F-A39F-A3A9C5C0AFAF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48346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ggund">
            <a:extLst>
              <a:ext uri="{FF2B5EF4-FFF2-40B4-BE49-F238E27FC236}">
                <a16:creationId xmlns:a16="http://schemas.microsoft.com/office/drawing/2014/main" id="{D36016C0-329D-4C37-9E53-C310AFC3E673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D7B5B42-7771-478B-B707-451694DA94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8280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>
              <a:defRPr>
                <a:latin typeface="+mn-lt"/>
              </a:defRPr>
            </a:lvl6pPr>
            <a:lvl7pPr marL="1080000">
              <a:defRPr>
                <a:latin typeface="+mn-lt"/>
              </a:defRPr>
            </a:lvl7pPr>
            <a:lvl8pPr marL="1080000">
              <a:defRPr>
                <a:latin typeface="+mn-lt"/>
              </a:defRPr>
            </a:lvl8pPr>
            <a:lvl9pPr marL="1080000"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409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F4B9A18-3031-4F61-A600-7506A7A2C712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F465A8-0790-45AE-B5DE-DE51F4564890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5 (FAST)">
            <a:extLst>
              <a:ext uri="{FF2B5EF4-FFF2-40B4-BE49-F238E27FC236}">
                <a16:creationId xmlns:a16="http://schemas.microsoft.com/office/drawing/2014/main" id="{41AAAC4F-9DD3-4852-9B3E-BFD2B816730C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79EB6E37-ECA3-4E0D-AB3D-C6F9B4A2F2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44800" y="4814808"/>
            <a:ext cx="367200" cy="100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2509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3AF2ECDF-1B89-4873-8C29-702E24E546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>
              <a:defRPr>
                <a:latin typeface="+mn-lt"/>
              </a:defRPr>
            </a:lvl6pPr>
            <a:lvl7pPr marL="1080000">
              <a:defRPr>
                <a:latin typeface="+mn-lt"/>
              </a:defRPr>
            </a:lvl7pPr>
            <a:lvl8pPr marL="1080000">
              <a:defRPr>
                <a:latin typeface="+mn-lt"/>
              </a:defRPr>
            </a:lvl8pPr>
            <a:lvl9pPr marL="1080000"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>
              <a:defRPr>
                <a:latin typeface="+mn-lt"/>
              </a:defRPr>
            </a:lvl6pPr>
            <a:lvl7pPr marL="1080000">
              <a:defRPr>
                <a:latin typeface="+mn-lt"/>
              </a:defRPr>
            </a:lvl7pPr>
            <a:lvl8pPr marL="1080000">
              <a:defRPr>
                <a:latin typeface="+mn-lt"/>
              </a:defRPr>
            </a:lvl8pPr>
            <a:lvl9pPr marL="1080000"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9F714630-8AA7-4D22-97B5-AFB4270C37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1FBDBDC-FA75-4FF7-840E-C198C8297EC5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113DC2-7993-41A9-98A7-F459F2496C53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5 (FAST)">
            <a:extLst>
              <a:ext uri="{FF2B5EF4-FFF2-40B4-BE49-F238E27FC236}">
                <a16:creationId xmlns:a16="http://schemas.microsoft.com/office/drawing/2014/main" id="{5348328E-6517-4208-A8F7-49B423B926EB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3376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pos="2721" userDrawn="1">
          <p15:clr>
            <a:srgbClr val="FBAE40"/>
          </p15:clr>
        </p15:guide>
        <p15:guide id="8" pos="3039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/>
          <p:nvPr userDrawn="1"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3887588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9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solidFill>
                  <a:schemeClr val="tx2"/>
                </a:solidFill>
                <a:latin typeface="+mn-lt"/>
              </a:defRPr>
            </a:lvl6pPr>
            <a:lvl7pPr>
              <a:defRPr>
                <a:solidFill>
                  <a:schemeClr val="tx2"/>
                </a:solidFill>
                <a:latin typeface="+mn-lt"/>
              </a:defRPr>
            </a:lvl7pPr>
            <a:lvl8pPr>
              <a:defRPr>
                <a:solidFill>
                  <a:schemeClr val="tx2"/>
                </a:solidFill>
                <a:latin typeface="+mn-lt"/>
              </a:defRPr>
            </a:lvl8pPr>
            <a:lvl9pPr>
              <a:defRPr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6pPr>
            <a:lvl7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7pPr>
            <a:lvl8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8pPr>
            <a:lvl9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0888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DC195C5-90D2-493A-A2AC-5CE7E6DAD698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B61A5DD-8AF0-4247-9A9E-E145137DBE52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14E8FCED-203A-457F-9F78-815525BBBE82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5626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21" userDrawn="1">
          <p15:clr>
            <a:srgbClr val="FBAE40"/>
          </p15:clr>
        </p15:guide>
        <p15:guide id="7" pos="3039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(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/>
          <p:nvPr userDrawn="1"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3887588" cy="576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9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 sz="1000">
                <a:solidFill>
                  <a:schemeClr val="bg1"/>
                </a:solidFill>
                <a:latin typeface="+mn-lt"/>
              </a:defRPr>
            </a:lvl6pPr>
            <a:lvl7pPr>
              <a:defRPr sz="1000">
                <a:solidFill>
                  <a:schemeClr val="bg1"/>
                </a:solidFill>
                <a:latin typeface="+mn-lt"/>
              </a:defRPr>
            </a:lvl7pPr>
            <a:lvl8pPr>
              <a:defRPr sz="1000">
                <a:solidFill>
                  <a:schemeClr val="bg1"/>
                </a:solidFill>
                <a:latin typeface="+mn-lt"/>
              </a:defRPr>
            </a:lvl8pPr>
            <a:lvl9pPr>
              <a:defRPr sz="10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 sz="1000">
                <a:latin typeface="+mn-lt"/>
              </a:defRPr>
            </a:lvl6pPr>
            <a:lvl7pPr>
              <a:defRPr sz="1000">
                <a:latin typeface="+mn-lt"/>
              </a:defRPr>
            </a:lvl7pPr>
            <a:lvl8pPr>
              <a:defRPr sz="1000">
                <a:latin typeface="+mn-lt"/>
              </a:defRPr>
            </a:lvl8pPr>
            <a:lvl9pPr>
              <a:defRPr sz="1000"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570788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88DF04-6FCB-499F-A324-ED1263F151EB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1A263B8-B88C-4569-BE36-64920329F4C4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23C38ED7-BB51-4D7D-9311-F599A1B1100C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132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21">
          <p15:clr>
            <a:srgbClr val="FBAE40"/>
          </p15:clr>
        </p15:guide>
        <p15:guide id="7" pos="303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 (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ggrund 1">
            <a:extLst>
              <a:ext uri="{FF2B5EF4-FFF2-40B4-BE49-F238E27FC236}">
                <a16:creationId xmlns:a16="http://schemas.microsoft.com/office/drawing/2014/main" id="{1352FE20-58C7-4C02-A5B9-188FFECA9C70}"/>
              </a:ext>
            </a:extLst>
          </p:cNvPr>
          <p:cNvSpPr/>
          <p:nvPr userDrawn="1"/>
        </p:nvSpPr>
        <p:spPr>
          <a:xfrm>
            <a:off x="4618103" y="832794"/>
            <a:ext cx="4525897" cy="37296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2" name="Baggrund 1"/>
          <p:cNvSpPr/>
          <p:nvPr userDrawn="1"/>
        </p:nvSpPr>
        <p:spPr>
          <a:xfrm>
            <a:off x="0" y="832794"/>
            <a:ext cx="4525897" cy="37296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9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>
                <a:latin typeface="+mn-lt"/>
              </a:defRPr>
            </a:lvl6pPr>
            <a:lvl7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>
                <a:latin typeface="+mn-lt"/>
              </a:defRPr>
            </a:lvl7pPr>
            <a:lvl8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>
                <a:latin typeface="+mn-lt"/>
              </a:defRPr>
            </a:lvl8pPr>
            <a:lvl9pPr indent="-216000">
              <a:lnSpc>
                <a:spcPct val="100000"/>
              </a:lnSpc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  <a:p>
            <a:pPr lvl="4"/>
            <a:endParaRPr lang="en-GB" noProof="0" dirty="0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0250336-BCA5-4C68-91FE-23C5B1723963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E97DDBC-BDD2-45A0-92D2-5D413E124658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3" name="Slide Number Placeholder 5 (FAST)">
            <a:extLst>
              <a:ext uri="{FF2B5EF4-FFF2-40B4-BE49-F238E27FC236}">
                <a16:creationId xmlns:a16="http://schemas.microsoft.com/office/drawing/2014/main" id="{BBA7531A-6144-4B03-8510-B075DA49F588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2755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8">
          <p15:clr>
            <a:srgbClr val="FBAE40"/>
          </p15:clr>
        </p15:guide>
        <p15:guide id="2" pos="272">
          <p15:clr>
            <a:srgbClr val="FBAE40"/>
          </p15:clr>
        </p15:guide>
        <p15:guide id="3" orient="horz" pos="522">
          <p15:clr>
            <a:srgbClr val="FBAE40"/>
          </p15:clr>
        </p15:guide>
        <p15:guide id="4" orient="horz" pos="647">
          <p15:clr>
            <a:srgbClr val="FBAE40"/>
          </p15:clr>
        </p15:guide>
        <p15:guide id="6" pos="2721">
          <p15:clr>
            <a:srgbClr val="FBAE40"/>
          </p15:clr>
        </p15:guide>
        <p15:guide id="7" pos="303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Picture 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45C5449-5351-4BC4-A062-46B47AB9E0A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4615200" y="1029600"/>
            <a:ext cx="4528800" cy="3420000"/>
          </a:xfrm>
          <a:solidFill>
            <a:schemeClr val="bg2"/>
          </a:solidFill>
        </p:spPr>
        <p:txBody>
          <a:bodyPr lIns="216000" tIns="648000" rIns="216000" bIns="0" anchor="ctr" anchorCtr="0"/>
          <a:lstStyle>
            <a:lvl1pPr marL="0" indent="0" algn="ctr">
              <a:spcAft>
                <a:spcPts val="0"/>
              </a:spcAft>
              <a:buNone/>
              <a:defRPr sz="1000" b="0">
                <a:latin typeface="Orsted Sans Office" panose="00000500000000000000" pitchFamily="2" charset="0"/>
              </a:defRPr>
            </a:lvl1pPr>
          </a:lstStyle>
          <a:p>
            <a:r>
              <a:rPr lang="en-GB" dirty="0"/>
              <a:t>Click icon to add picture</a:t>
            </a:r>
            <a:br>
              <a:rPr lang="en-GB" dirty="0"/>
            </a:br>
            <a:r>
              <a:rPr lang="en-GB" dirty="0"/>
              <a:t>or click on frame and insert picture via Templafy Imag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8EB20DF-455E-45F0-BA0A-31B71287B052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F6D1BE-B971-41F3-8D86-92918FC6C542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5 (FAST)">
            <a:extLst>
              <a:ext uri="{FF2B5EF4-FFF2-40B4-BE49-F238E27FC236}">
                <a16:creationId xmlns:a16="http://schemas.microsoft.com/office/drawing/2014/main" id="{D4919216-61E8-4FD6-9705-5838E99F225F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8284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21">
          <p15:clr>
            <a:srgbClr val="FBAE40"/>
          </p15:clr>
        </p15:guide>
        <p15:guide id="7" pos="290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A76E64DB-665E-484F-915F-C28A419F273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1998" y="1029600"/>
            <a:ext cx="24192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C70FC30-C02A-4089-B606-00334AD4557A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3362399" y="1029600"/>
            <a:ext cx="24192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988C62B9-48CB-4030-8AAD-44EC028DC0FD}"/>
              </a:ext>
            </a:extLst>
          </p:cNvPr>
          <p:cNvSpPr>
            <a:spLocks noGrp="1"/>
          </p:cNvSpPr>
          <p:nvPr>
            <p:ph idx="34" hasCustomPrompt="1"/>
          </p:nvPr>
        </p:nvSpPr>
        <p:spPr>
          <a:xfrm>
            <a:off x="6292800" y="1029600"/>
            <a:ext cx="24192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FontTx/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CA4EAC-102A-42D2-9E76-F5ADCE9B960E}"/>
              </a:ext>
            </a:extLst>
          </p:cNvPr>
          <p:cNvSpPr>
            <a:spLocks noGrp="1"/>
          </p:cNvSpPr>
          <p:nvPr>
            <p:ph type="dt" sz="half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C9E92A-733C-4D50-9DF6-C89A092B22E9}"/>
              </a:ext>
            </a:extLst>
          </p:cNvPr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8128A13B-9D21-429B-8869-537307ED2FDF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3363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645" userDrawn="1">
          <p15:clr>
            <a:srgbClr val="FBAE40"/>
          </p15:clr>
        </p15:guide>
        <p15:guide id="7" pos="3963" userDrawn="1">
          <p15:clr>
            <a:srgbClr val="FBAE40"/>
          </p15:clr>
        </p15:guide>
        <p15:guide id="10" pos="1798" userDrawn="1">
          <p15:clr>
            <a:srgbClr val="FBAE40"/>
          </p15:clr>
        </p15:guide>
        <p15:guide id="11" pos="211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eaLnBrk="1"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F8A859BB-4097-4B5C-9389-6FAEBA760E8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18D3D8A-091D-4BFB-A5DB-F4E694271B33}"/>
              </a:ext>
            </a:extLst>
          </p:cNvPr>
          <p:cNvSpPr>
            <a:spLocks noGrp="1"/>
          </p:cNvSpPr>
          <p:nvPr>
            <p:ph idx="31" hasCustomPrompt="1"/>
          </p:nvPr>
        </p:nvSpPr>
        <p:spPr>
          <a:xfrm>
            <a:off x="432000" y="2991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F620C479-51CF-4825-94BD-069C67AE9DC8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0567A9AF-7741-4EE2-9D70-D2F0624DC48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C653F7-01D6-474A-B06D-33C489D108D9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CB9D83-8D6C-40B3-A6B8-2D1D62035421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9" name="Slide Number Placeholder 5 (FAST)">
            <a:extLst>
              <a:ext uri="{FF2B5EF4-FFF2-40B4-BE49-F238E27FC236}">
                <a16:creationId xmlns:a16="http://schemas.microsoft.com/office/drawing/2014/main" id="{65E63BC4-A76A-47BF-B6BA-4C5E281E6E15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62214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orient="horz" pos="1567" userDrawn="1">
          <p15:clr>
            <a:srgbClr val="FBAE40"/>
          </p15:clr>
        </p15:guide>
        <p15:guide id="8" orient="horz" pos="1882" userDrawn="1">
          <p15:clr>
            <a:srgbClr val="FBAE40"/>
          </p15:clr>
        </p15:guide>
        <p15:guide id="9" pos="2721" userDrawn="1">
          <p15:clr>
            <a:srgbClr val="FBAE40"/>
          </p15:clr>
        </p15:guide>
        <p15:guide id="10" pos="303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336726AB-14A5-4B9C-87C4-AE341AF4CDC7}"/>
              </a:ext>
            </a:extLst>
          </p:cNvPr>
          <p:cNvSpPr/>
          <p:nvPr userDrawn="1"/>
        </p:nvSpPr>
        <p:spPr bwMode="white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781D6E24-EF31-40AE-9B17-23D4CEDFF3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32000" y="252000"/>
            <a:ext cx="826817" cy="2268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3387" y="1027113"/>
            <a:ext cx="7128000" cy="1242000"/>
          </a:xfrm>
        </p:spPr>
        <p:txBody>
          <a:bodyPr anchor="t"/>
          <a:lstStyle>
            <a:lvl1pPr algn="l" eaLnBrk="1">
              <a:lnSpc>
                <a:spcPct val="95000"/>
              </a:lnSpc>
              <a:defRPr sz="4800">
                <a:solidFill>
                  <a:schemeClr val="tx1"/>
                </a:solidFill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999" y="2516400"/>
            <a:ext cx="7128000" cy="550800"/>
          </a:xfrm>
        </p:spPr>
        <p:txBody>
          <a:bodyPr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baseline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628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 baseline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432000" y="4766628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30202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eaLnBrk="1"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1"/>
          <p:cNvSpPr>
            <a:spLocks noGrp="1"/>
          </p:cNvSpPr>
          <p:nvPr>
            <p:ph idx="1" hasCustomPrompt="1"/>
          </p:nvPr>
        </p:nvSpPr>
        <p:spPr>
          <a:xfrm>
            <a:off x="431999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57738C9-DA24-4CF0-8DAD-EA13572AF5D6}"/>
              </a:ext>
            </a:extLst>
          </p:cNvPr>
          <p:cNvSpPr>
            <a:spLocks noGrp="1"/>
          </p:cNvSpPr>
          <p:nvPr>
            <p:ph idx="32" hasCustomPrompt="1"/>
          </p:nvPr>
        </p:nvSpPr>
        <p:spPr>
          <a:xfrm>
            <a:off x="4824000" y="1029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34BB4B54-94C1-4B8F-955D-4A138B4885B3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4824000" y="2991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32334051-2DCD-4BF5-8E3B-66EFA5476E0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3F7717-ED54-4A71-BBBA-48BA5FF570C8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FEE082-8BDA-4F95-ADFD-03075BD80051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C38EDEDE-C2FE-431F-88B2-387DD76107D4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5580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039" userDrawn="1">
          <p15:clr>
            <a:srgbClr val="FBAE40"/>
          </p15:clr>
        </p15:guide>
        <p15:guide id="8" orient="horz" pos="1566" userDrawn="1">
          <p15:clr>
            <a:srgbClr val="FBAE40"/>
          </p15:clr>
        </p15:guide>
        <p15:guide id="9" orient="horz" pos="1882" userDrawn="1">
          <p15:clr>
            <a:srgbClr val="FBAE40"/>
          </p15:clr>
        </p15:guide>
        <p15:guide id="10" pos="2721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A76E64DB-665E-484F-915F-C28A419F273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1998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C70FC30-C02A-4089-B606-00334AD4557A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4824000" y="1029600"/>
            <a:ext cx="1692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988C62B9-48CB-4030-8AAD-44EC028DC0FD}"/>
              </a:ext>
            </a:extLst>
          </p:cNvPr>
          <p:cNvSpPr>
            <a:spLocks noGrp="1"/>
          </p:cNvSpPr>
          <p:nvPr>
            <p:ph idx="34" hasCustomPrompt="1"/>
          </p:nvPr>
        </p:nvSpPr>
        <p:spPr>
          <a:xfrm>
            <a:off x="7020000" y="1029600"/>
            <a:ext cx="1692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FontTx/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CA4EAC-102A-42D2-9E76-F5ADCE9B960E}"/>
              </a:ext>
            </a:extLst>
          </p:cNvPr>
          <p:cNvSpPr>
            <a:spLocks noGrp="1"/>
          </p:cNvSpPr>
          <p:nvPr>
            <p:ph type="dt" sz="half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C9E92A-733C-4D50-9DF6-C89A092B22E9}"/>
              </a:ext>
            </a:extLst>
          </p:cNvPr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B471A5BF-BC19-4E62-945E-4AEF3F24F7A7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5279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4103" userDrawn="1">
          <p15:clr>
            <a:srgbClr val="FBAE40"/>
          </p15:clr>
        </p15:guide>
        <p15:guide id="7" pos="4421" userDrawn="1">
          <p15:clr>
            <a:srgbClr val="FBAE40"/>
          </p15:clr>
        </p15:guide>
        <p15:guide id="11" pos="3038" userDrawn="1">
          <p15:clr>
            <a:srgbClr val="FBAE40"/>
          </p15:clr>
        </p15:guide>
        <p15:guide id="12" pos="2721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id="{B6D4C96D-A5C6-462E-A726-3A3CDB7C1B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9" name="Content Placeholder 3"/>
          <p:cNvSpPr>
            <a:spLocks noGrp="1"/>
          </p:cNvSpPr>
          <p:nvPr>
            <p:ph idx="31" hasCustomPrompt="1"/>
          </p:nvPr>
        </p:nvSpPr>
        <p:spPr>
          <a:xfrm>
            <a:off x="432000" y="2991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21" name="Content Placeholder 4"/>
          <p:cNvSpPr>
            <a:spLocks noGrp="1"/>
          </p:cNvSpPr>
          <p:nvPr>
            <p:ph idx="32" hasCustomPrompt="1"/>
          </p:nvPr>
        </p:nvSpPr>
        <p:spPr>
          <a:xfrm>
            <a:off x="4824000" y="1029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23" name="Content Placeholder 5"/>
          <p:cNvSpPr>
            <a:spLocks noGrp="1"/>
          </p:cNvSpPr>
          <p:nvPr>
            <p:ph idx="33" hasCustomPrompt="1"/>
          </p:nvPr>
        </p:nvSpPr>
        <p:spPr>
          <a:xfrm>
            <a:off x="4824000" y="2991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DBB1C826-8422-4628-93A8-315ECBAB136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1AC9694-0939-4287-80B8-8D8991B30022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42E6A9-DFF4-459E-9477-51C4E503C35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0" name="Slide Number Placeholder 5 (FAST)">
            <a:extLst>
              <a:ext uri="{FF2B5EF4-FFF2-40B4-BE49-F238E27FC236}">
                <a16:creationId xmlns:a16="http://schemas.microsoft.com/office/drawing/2014/main" id="{5EEB90F5-37ED-4E21-B4F3-76D61BEE3A7C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5021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721" userDrawn="1">
          <p15:clr>
            <a:srgbClr val="FBAE40"/>
          </p15:clr>
        </p15:guide>
        <p15:guide id="4" pos="3039" userDrawn="1">
          <p15:clr>
            <a:srgbClr val="FBAE40"/>
          </p15:clr>
        </p15:guide>
        <p15:guide id="8" orient="horz" pos="1570" userDrawn="1">
          <p15:clr>
            <a:srgbClr val="FBAE40"/>
          </p15:clr>
        </p15:guide>
        <p15:guide id="9" orient="horz" pos="1883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ggund">
            <a:extLst>
              <a:ext uri="{FF2B5EF4-FFF2-40B4-BE49-F238E27FC236}">
                <a16:creationId xmlns:a16="http://schemas.microsoft.com/office/drawing/2014/main" id="{BED0A9AC-E171-4E5D-ABD0-556AD3B13530}"/>
              </a:ext>
            </a:extLst>
          </p:cNvPr>
          <p:cNvSpPr/>
          <p:nvPr userDrawn="1"/>
        </p:nvSpPr>
        <p:spPr bwMode="ltGray">
          <a:xfrm>
            <a:off x="4572000" y="0"/>
            <a:ext cx="4572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25" name="Picture Placeholder 1">
            <a:extLst>
              <a:ext uri="{FF2B5EF4-FFF2-40B4-BE49-F238E27FC236}">
                <a16:creationId xmlns:a16="http://schemas.microsoft.com/office/drawing/2014/main" id="{95EC5A00-F373-4B9E-90D0-78C2B446DE2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bg2"/>
          </a:solidFill>
        </p:spPr>
        <p:txBody>
          <a:bodyPr wrap="square" lIns="180000" tIns="0" rIns="216000" bIns="648000" anchor="ctr" anchorCtr="0">
            <a:noAutofit/>
          </a:bodyPr>
          <a:lstStyle>
            <a:lvl1pPr marL="0" indent="0" algn="ctr">
              <a:spcAft>
                <a:spcPts val="0"/>
              </a:spcAft>
              <a:buNone/>
              <a:defRPr sz="1000" b="0"/>
            </a:lvl1pPr>
          </a:lstStyle>
          <a:p>
            <a:r>
              <a:rPr lang="en-GB" noProof="0" dirty="0"/>
              <a:t>Click icon to add picture</a:t>
            </a:r>
            <a:br>
              <a:rPr lang="en-GB" noProof="0" dirty="0"/>
            </a:br>
            <a:r>
              <a:rPr lang="en-GB" noProof="0" dirty="0"/>
              <a:t>or click on frame and insert picture via Templafy Images</a:t>
            </a:r>
          </a:p>
        </p:txBody>
      </p:sp>
      <p:sp>
        <p:nvSpPr>
          <p:cNvPr id="34" name="Title 16">
            <a:extLst>
              <a:ext uri="{FF2B5EF4-FFF2-40B4-BE49-F238E27FC236}">
                <a16:creationId xmlns:a16="http://schemas.microsoft.com/office/drawing/2014/main" id="{2A9B6D3A-1876-4B39-9B5F-BA5E5CEBE0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3888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EE5168EB-F110-45AB-AB79-DB95008DDE0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7801973-ACAA-4794-A532-150133FC3F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41082" y="2843212"/>
            <a:ext cx="2559618" cy="1606551"/>
          </a:xfrm>
        </p:spPr>
        <p:txBody>
          <a:bodyPr anchor="b" anchorCtr="0"/>
          <a:lstStyle>
            <a:lvl1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1" i="0">
                <a:solidFill>
                  <a:schemeClr val="bg1"/>
                </a:solidFill>
              </a:defRPr>
            </a:lvl1pPr>
            <a:lvl2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2pPr>
            <a:lvl3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3pPr>
            <a:lvl4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4pPr>
            <a:lvl5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7782524-1158-4654-BA5E-A2BD94C173E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10" name="Text Placeholder logo">
            <a:extLst>
              <a:ext uri="{FF2B5EF4-FFF2-40B4-BE49-F238E27FC236}">
                <a16:creationId xmlns:a16="http://schemas.microsoft.com/office/drawing/2014/main" id="{170B52BE-DEB5-49C4-B6B9-119CBF4526E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44800" y="4814425"/>
            <a:ext cx="367200" cy="100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0E003746-A877-4C41-AFA0-DA2FDDD32C05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031715F6-207D-4160-8320-A60EC214DB7F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E03F9A40-0343-46E2-8058-06615B7B4838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88925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721" userDrawn="1">
          <p15:clr>
            <a:srgbClr val="FBAE40"/>
          </p15:clr>
        </p15:guide>
        <p15:guide id="5" pos="288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ladsholder til billede 1">
            <a:extLst>
              <a:ext uri="{FF2B5EF4-FFF2-40B4-BE49-F238E27FC236}">
                <a16:creationId xmlns:a16="http://schemas.microsoft.com/office/drawing/2014/main" id="{CDFA7363-B2A3-414B-8CD2-9760EB77FBA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bg2"/>
          </a:solidFill>
        </p:spPr>
        <p:txBody>
          <a:bodyPr wrap="square" lIns="252000" tIns="0" rIns="252000" bIns="648000" anchor="ctr" anchorCtr="0">
            <a:noAutofit/>
          </a:bodyPr>
          <a:lstStyle>
            <a:lvl1pPr marL="0" indent="0" algn="ctr">
              <a:spcAft>
                <a:spcPts val="0"/>
              </a:spcAft>
              <a:buNone/>
              <a:defRPr sz="1000" b="0"/>
            </a:lvl1pPr>
          </a:lstStyle>
          <a:p>
            <a:r>
              <a:rPr lang="en-GB" noProof="0" dirty="0"/>
              <a:t>Click icon to add picture</a:t>
            </a:r>
            <a:br>
              <a:rPr lang="en-GB" noProof="0" dirty="0"/>
            </a:br>
            <a:r>
              <a:rPr lang="en-GB" noProof="0" dirty="0"/>
              <a:t>or click on frame and insert picture via Templafy Images</a:t>
            </a:r>
          </a:p>
        </p:txBody>
      </p:sp>
      <p:sp>
        <p:nvSpPr>
          <p:cNvPr id="15" name="Title 16">
            <a:extLst>
              <a:ext uri="{FF2B5EF4-FFF2-40B4-BE49-F238E27FC236}">
                <a16:creationId xmlns:a16="http://schemas.microsoft.com/office/drawing/2014/main" id="{4704384C-A5B7-4110-AAA9-4C8D00426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24000" y="252000"/>
            <a:ext cx="3888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F87392D5-D764-4675-937A-382F4E25E4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24000" y="1028256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 marL="1080000" indent="-216000">
              <a:buFont typeface="Arial" panose="020B0604020202020204" pitchFamily="34" charset="0"/>
              <a:buChar char="•"/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7801973-ACAA-4794-A532-150133FC3F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9082" y="2843212"/>
            <a:ext cx="2701670" cy="1606551"/>
          </a:xfrm>
        </p:spPr>
        <p:txBody>
          <a:bodyPr anchor="b" anchorCtr="0"/>
          <a:lstStyle>
            <a:lvl1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1" i="0">
                <a:solidFill>
                  <a:schemeClr val="bg1"/>
                </a:solidFill>
              </a:defRPr>
            </a:lvl1pPr>
            <a:lvl2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2pPr>
            <a:lvl3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3pPr>
            <a:lvl4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4pPr>
            <a:lvl5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5149EF0-AA98-42C2-B446-EE6031E780B8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67041F-8593-4BC8-A700-DE0919BCDF4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305D4817-301D-4449-8A20-9C81D519DFF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4280D85E-6FEE-4B7A-AF14-62F0C061AB82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394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037" userDrawn="1">
          <p15:clr>
            <a:srgbClr val="FBAE40"/>
          </p15:clr>
        </p15:guide>
        <p15:guide id="4" pos="2880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133FABFE-960E-4D78-A6EF-C623F529723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B7F36C2-643E-40F1-9A8C-BBC22355DDA4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56846CA-3A6B-4342-A399-29CC6BA99F5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62F4F0A3-E514-4920-9CAC-3FB00C6151A3}"/>
              </a:ext>
            </a:extLst>
          </p:cNvPr>
          <p:cNvSpPr>
            <a:spLocks noGrp="1"/>
          </p:cNvSpPr>
          <p:nvPr>
            <p:ph type="media" sz="quarter" idx="12" hasCustomPrompt="1"/>
          </p:nvPr>
        </p:nvSpPr>
        <p:spPr>
          <a:xfrm>
            <a:off x="0" y="0"/>
            <a:ext cx="9144000" cy="5143500"/>
          </a:xfrm>
          <a:solidFill>
            <a:schemeClr val="bg1"/>
          </a:solidFill>
        </p:spPr>
        <p:txBody>
          <a:bodyPr tIns="432000" anchor="ctr" anchorCtr="0"/>
          <a:lstStyle>
            <a:lvl1pPr marL="0" indent="0" algn="ctr">
              <a:buNone/>
              <a:defRPr b="0"/>
            </a:lvl1pPr>
          </a:lstStyle>
          <a:p>
            <a:r>
              <a:rPr lang="en-GB" dirty="0"/>
              <a:t>Click icon to add media or click on frame and insert media via Templafy Images</a:t>
            </a:r>
          </a:p>
        </p:txBody>
      </p:sp>
    </p:spTree>
    <p:extLst>
      <p:ext uri="{BB962C8B-B14F-4D97-AF65-F5344CB8AC3E}">
        <p14:creationId xmlns:p14="http://schemas.microsoft.com/office/powerpoint/2010/main" val="39222944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513629D-E860-45BE-BDB8-080D49F295A7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175027CF-613E-459C-A69E-35E31A5FCE55}"/>
              </a:ext>
            </a:extLst>
          </p:cNvPr>
          <p:cNvSpPr/>
          <p:nvPr userDrawn="1"/>
        </p:nvSpPr>
        <p:spPr bwMode="black">
          <a:xfrm>
            <a:off x="432000" y="270000"/>
            <a:ext cx="479123" cy="324717"/>
          </a:xfrm>
          <a:custGeom>
            <a:avLst/>
            <a:gdLst>
              <a:gd name="connsiteX0" fmla="*/ 480771 w 638831"/>
              <a:gd name="connsiteY0" fmla="*/ 0 h 432956"/>
              <a:gd name="connsiteX1" fmla="*/ 638831 w 638831"/>
              <a:gd name="connsiteY1" fmla="*/ 0 h 432956"/>
              <a:gd name="connsiteX2" fmla="*/ 563095 w 638831"/>
              <a:gd name="connsiteY2" fmla="*/ 432956 h 432956"/>
              <a:gd name="connsiteX3" fmla="*/ 330942 w 638831"/>
              <a:gd name="connsiteY3" fmla="*/ 432956 h 432956"/>
              <a:gd name="connsiteX4" fmla="*/ 149829 w 638831"/>
              <a:gd name="connsiteY4" fmla="*/ 0 h 432956"/>
              <a:gd name="connsiteX5" fmla="*/ 307891 w 638831"/>
              <a:gd name="connsiteY5" fmla="*/ 0 h 432956"/>
              <a:gd name="connsiteX6" fmla="*/ 232153 w 638831"/>
              <a:gd name="connsiteY6" fmla="*/ 432956 h 432956"/>
              <a:gd name="connsiteX7" fmla="*/ 0 w 638831"/>
              <a:gd name="connsiteY7" fmla="*/ 432956 h 432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8831" h="432956">
                <a:moveTo>
                  <a:pt x="480771" y="0"/>
                </a:moveTo>
                <a:lnTo>
                  <a:pt x="638831" y="0"/>
                </a:lnTo>
                <a:lnTo>
                  <a:pt x="563095" y="432956"/>
                </a:lnTo>
                <a:lnTo>
                  <a:pt x="330942" y="432956"/>
                </a:lnTo>
                <a:close/>
                <a:moveTo>
                  <a:pt x="149829" y="0"/>
                </a:moveTo>
                <a:lnTo>
                  <a:pt x="307891" y="0"/>
                </a:lnTo>
                <a:lnTo>
                  <a:pt x="232153" y="432956"/>
                </a:lnTo>
                <a:lnTo>
                  <a:pt x="0" y="43295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4000" tIns="27000" rIns="54000" bIns="27000" rtlCol="0" anchor="ctr">
            <a:noAutofit/>
          </a:bodyPr>
          <a:lstStyle/>
          <a:p>
            <a:pPr algn="ctr"/>
            <a:endParaRPr lang="en-GB" sz="1500" noProof="0" dirty="0" err="1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6D9C079E-C1CA-4307-B4A7-1C8B13CD4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386" y="827088"/>
            <a:ext cx="6961913" cy="2939412"/>
          </a:xfrm>
        </p:spPr>
        <p:txBody>
          <a:bodyPr wrap="square">
            <a:noAutofit/>
          </a:bodyPr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quot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8EA2AC93-6324-493E-AFC2-33DF15EAFE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3388" y="4128393"/>
            <a:ext cx="6961912" cy="3159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Aft>
                <a:spcPts val="450"/>
              </a:spcAft>
              <a:buNone/>
              <a:defRPr sz="10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3pPr>
            <a:lvl4pPr indent="0">
              <a:lnSpc>
                <a:spcPct val="100000"/>
              </a:lnSpc>
              <a:spcAft>
                <a:spcPts val="450"/>
              </a:spcAft>
              <a:buNone/>
              <a:defRPr sz="750" b="0">
                <a:solidFill>
                  <a:schemeClr val="tx1"/>
                </a:solidFill>
              </a:defRPr>
            </a:lvl4pPr>
            <a:lvl5pPr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6pPr>
            <a:lvl7pPr indent="0">
              <a:lnSpc>
                <a:spcPct val="100000"/>
              </a:lnSpc>
              <a:spcAft>
                <a:spcPts val="450"/>
              </a:spcAft>
              <a:buNone/>
              <a:defRPr sz="750" b="0">
                <a:solidFill>
                  <a:schemeClr val="tx1"/>
                </a:solidFill>
              </a:defRPr>
            </a:lvl7pPr>
            <a:lvl8pPr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8pPr>
            <a:lvl9pPr indent="0">
              <a:lnSpc>
                <a:spcPct val="100000"/>
              </a:lnSpc>
              <a:spcAft>
                <a:spcPts val="450"/>
              </a:spcAft>
              <a:buNone/>
              <a:defRPr sz="75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add nam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E180F1A-7E46-46CF-B46A-159E655857CA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8B97192-A29C-4DAD-A2B0-293FBA2E9CC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F1110216-271D-4467-8A40-C485C6CEEF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3" name="Slide Number Placeholder 5 (FAST)">
            <a:extLst>
              <a:ext uri="{FF2B5EF4-FFF2-40B4-BE49-F238E27FC236}">
                <a16:creationId xmlns:a16="http://schemas.microsoft.com/office/drawing/2014/main" id="{B21F055B-94C9-4A0C-80D6-A2EAD732B518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23774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2">
          <p15:clr>
            <a:srgbClr val="A4A3A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513629D-E860-45BE-BDB8-080D49F295A7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6D9C079E-C1CA-4307-B4A7-1C8B13CD4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388" y="270000"/>
            <a:ext cx="6961912" cy="3793500"/>
          </a:xfrm>
        </p:spPr>
        <p:txBody>
          <a:bodyPr wrap="square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Q&amp;A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50559A7-B871-4D4D-B475-C92C1FE8EC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EEEDEE-4E49-4561-A93D-7911464BE9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195762D3-1F42-4230-8AE5-57CA010216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9" name="Slide Number Placeholder 5 (FAST)">
            <a:extLst>
              <a:ext uri="{FF2B5EF4-FFF2-40B4-BE49-F238E27FC236}">
                <a16:creationId xmlns:a16="http://schemas.microsoft.com/office/drawing/2014/main" id="{5045C851-08B9-4003-95B0-54D60818665E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03521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2">
          <p15:clr>
            <a:srgbClr val="A4A3A4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513629D-E860-45BE-BDB8-080D49F295A7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CC1A041A-5ACA-45CA-AD32-97622667D9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32000" y="252000"/>
            <a:ext cx="826817" cy="226800"/>
          </a:xfrm>
          <a:prstGeom prst="rect">
            <a:avLst/>
          </a:prstGeom>
        </p:spPr>
      </p:pic>
      <p:sp>
        <p:nvSpPr>
          <p:cNvPr id="18" name="Title 17">
            <a:extLst>
              <a:ext uri="{FF2B5EF4-FFF2-40B4-BE49-F238E27FC236}">
                <a16:creationId xmlns:a16="http://schemas.microsoft.com/office/drawing/2014/main" id="{6D9C079E-C1CA-4307-B4A7-1C8B13CD4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1027113"/>
            <a:ext cx="6120900" cy="2634087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Thank you</a:t>
            </a:r>
          </a:p>
        </p:txBody>
      </p:sp>
      <p:sp>
        <p:nvSpPr>
          <p:cNvPr id="10" name="Text Placeholder 17">
            <a:extLst>
              <a:ext uri="{FF2B5EF4-FFF2-40B4-BE49-F238E27FC236}">
                <a16:creationId xmlns:a16="http://schemas.microsoft.com/office/drawing/2014/main" id="{827A5D07-EA8D-4757-A840-AD94A54263C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400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b="1" baseline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11" name="Date_DateCustomA">
            <a:extLst>
              <a:ext uri="{FF2B5EF4-FFF2-40B4-BE49-F238E27FC236}">
                <a16:creationId xmlns:a16="http://schemas.microsoft.com/office/drawing/2014/main" id="{97E70A84-94D6-402C-9DB4-EF5D384DCD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32000" y="4766400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12" name="Footer Placeholder 6" hidden="1">
            <a:extLst>
              <a:ext uri="{FF2B5EF4-FFF2-40B4-BE49-F238E27FC236}">
                <a16:creationId xmlns:a16="http://schemas.microsoft.com/office/drawing/2014/main" id="{269723D8-1C78-43E9-9FA9-6570E264308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61229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369">
          <p15:clr>
            <a:srgbClr val="A4A3A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D556C6-991D-4FD9-9393-739D0F8A60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3733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D556C6-991D-4FD9-9393-739D0F8A60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49757780-C244-418D-A0DD-15ED296FE33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409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4E76D947-08D5-4897-BC99-FA8B3E3B5C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2D0878B-07BF-4B46-B6AF-DD7B9CC6B7FE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2315FD-1629-4CE7-A201-A0B8CB9838B8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5 (FAST)">
            <a:extLst>
              <a:ext uri="{FF2B5EF4-FFF2-40B4-BE49-F238E27FC236}">
                <a16:creationId xmlns:a16="http://schemas.microsoft.com/office/drawing/2014/main" id="{5F913250-153E-4DDB-925D-E17567067676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9132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ggund">
            <a:extLst>
              <a:ext uri="{FF2B5EF4-FFF2-40B4-BE49-F238E27FC236}">
                <a16:creationId xmlns:a16="http://schemas.microsoft.com/office/drawing/2014/main" id="{295F4698-EF31-45F5-96F9-2BAEA047441C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C2453A56-9681-482E-B234-77967782C47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000" cy="51435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72000" tIns="72000">
            <a:noAutofit/>
          </a:bodyPr>
          <a:lstStyle>
            <a:lvl1pPr marL="0" indent="0" algn="l">
              <a:buNone/>
              <a:defRPr sz="10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on frame and insert light picture using the Insert tab › Pictures or insert picture via Templafy Images</a:t>
            </a:r>
          </a:p>
        </p:txBody>
      </p:sp>
      <p:sp>
        <p:nvSpPr>
          <p:cNvPr id="11" name="Text Placeholder logo">
            <a:extLst>
              <a:ext uri="{FF2B5EF4-FFF2-40B4-BE49-F238E27FC236}">
                <a16:creationId xmlns:a16="http://schemas.microsoft.com/office/drawing/2014/main" id="{054CD7CD-654A-4448-B982-0A70FAD0D71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000" y="252000"/>
            <a:ext cx="828000" cy="226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3387" y="1026000"/>
            <a:ext cx="7128000" cy="1242000"/>
          </a:xfrm>
        </p:spPr>
        <p:txBody>
          <a:bodyPr anchor="t"/>
          <a:lstStyle>
            <a:lvl1pPr algn="l" eaLnBrk="1">
              <a:lnSpc>
                <a:spcPct val="95000"/>
              </a:lnSpc>
              <a:defRPr sz="4800">
                <a:solidFill>
                  <a:schemeClr val="accent1"/>
                </a:solidFill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999" y="2516400"/>
            <a:ext cx="7128000" cy="550800"/>
          </a:xfrm>
        </p:spPr>
        <p:txBody>
          <a:bodyPr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400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432000" y="4766400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4549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A55FFAC-2B80-4C30-87FF-D26CF823E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2625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A55FFAC-2B80-4C30-87FF-D26CF823E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E3FB5418-216C-4728-B3CC-740A652F46F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409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0DAFF61-D1B8-4F91-B1DF-6C41AF2547BB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62922E-8E73-43CA-88A4-1E6E2AE593D2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Slide Number Placeholder 5 (FAST)">
            <a:extLst>
              <a:ext uri="{FF2B5EF4-FFF2-40B4-BE49-F238E27FC236}">
                <a16:creationId xmlns:a16="http://schemas.microsoft.com/office/drawing/2014/main" id="{CD799328-F495-4C31-AD22-AE97BE20781A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57613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316396" y="1034422"/>
            <a:ext cx="1980000" cy="3394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Pictures</a:t>
            </a:r>
            <a:br>
              <a:rPr lang="en-GB" sz="675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 corporate picture from Templafy</a:t>
            </a: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Click the blue </a:t>
            </a: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Templafy </a:t>
            </a:r>
            <a: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utton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the dropdown, click </a:t>
            </a: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mages</a:t>
            </a:r>
            <a: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, or click the </a:t>
            </a: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mages </a:t>
            </a:r>
            <a:r>
              <a:rPr lang="en-GB" altLang="da-DK" sz="675" b="0" i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utton</a:t>
            </a:r>
            <a: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in the Templafy pane on the right side of the screen</a:t>
            </a:r>
            <a:endParaRPr lang="en-GB" altLang="da-DK" sz="675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lang="en-GB" altLang="da-DK" sz="675" b="0" baseline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n slides with pictureplaceholder, click on the icon and choos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r via Templafy</a:t>
            </a:r>
          </a:p>
          <a:p>
            <a:pPr eaLnBrk="1" hangingPunct="1">
              <a:spcBef>
                <a:spcPts val="900"/>
              </a:spcBef>
              <a:spcAft>
                <a:spcPts val="450"/>
              </a:spcAft>
              <a:defRPr/>
            </a:pPr>
            <a:r>
              <a:rPr lang="en-GB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rop pictur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o change size or focus of the pictur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f you want to scale the picture, hold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-key down while dragging the corners of the picture</a:t>
            </a: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f you delete the picture and insert a new one, the picture may lie in front of the text or graphic. If this happens, select the picture, </a:t>
            </a: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end to Back</a:t>
            </a: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1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1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1E29220A-15A7-4D74-97D3-C35C0B6650BA}"/>
              </a:ext>
            </a:extLst>
          </p:cNvPr>
          <p:cNvGrpSpPr/>
          <p:nvPr userDrawn="1"/>
        </p:nvGrpSpPr>
        <p:grpSpPr>
          <a:xfrm>
            <a:off x="5370822" y="1221095"/>
            <a:ext cx="507502" cy="748278"/>
            <a:chOff x="6442771" y="2574072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402144" y="2691915"/>
            <a:ext cx="235341" cy="407925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07491" y="1034423"/>
            <a:ext cx="1980000" cy="3620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eader &amp; footer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ab (write the desired text)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if only used on one slide</a:t>
            </a: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1200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opy/paste content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When copying old content to your new presentation, 2 options are available: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1. Best practice: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reate a slide in your new presentation and copy </a:t>
            </a:r>
            <a:r>
              <a:rPr lang="en-GB" altLang="da-DK" sz="675" b="0" i="0" u="sng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en-GB" altLang="da-DK" sz="675" b="0" i="0" u="none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piece of content at a time (e.g. copy all text from </a:t>
            </a:r>
            <a:r>
              <a:rPr lang="en-GB" altLang="da-DK" sz="675" b="0" i="0" u="sng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en-GB" altLang="da-DK" sz="675" b="0" i="0" u="none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extbox)</a:t>
            </a:r>
            <a:endParaRPr lang="en-GB" altLang="da-DK" sz="675" b="1" i="0" u="sng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r copy an entire slide into your new presentation and then choose a fitting layout. Remember to delete the old, wrong layouts (go to View &gt; Slidemaster and delete them)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ridlines</a:t>
            </a:r>
            <a:endParaRPr lang="en-GB" sz="1200" b="1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ab and set tick mark next to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for quick view of guides</a:t>
            </a: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1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9" name="Picture 12">
            <a:extLst>
              <a:ext uri="{FF2B5EF4-FFF2-40B4-BE49-F238E27FC236}">
                <a16:creationId xmlns:a16="http://schemas.microsoft.com/office/drawing/2014/main" id="{D59A1415-DF88-48C2-BFBD-2900D34A9A2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387491" y="1450911"/>
            <a:ext cx="283720" cy="407525"/>
          </a:xfrm>
          <a:prstGeom prst="rect">
            <a:avLst/>
          </a:prstGeom>
        </p:spPr>
      </p:pic>
      <p:pic>
        <p:nvPicPr>
          <p:cNvPr id="9" name="Picture 33">
            <a:extLst>
              <a:ext uri="{FF2B5EF4-FFF2-40B4-BE49-F238E27FC236}">
                <a16:creationId xmlns:a16="http://schemas.microsoft.com/office/drawing/2014/main" id="{B03E872F-21DD-423D-B6DE-4945F155FB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3901" t="45142" r="62601" b="9046"/>
          <a:stretch/>
        </p:blipFill>
        <p:spPr>
          <a:xfrm>
            <a:off x="5371018" y="2153143"/>
            <a:ext cx="255903" cy="241280"/>
          </a:xfrm>
          <a:prstGeom prst="rect">
            <a:avLst/>
          </a:prstGeom>
        </p:spPr>
      </p:pic>
      <p:pic>
        <p:nvPicPr>
          <p:cNvPr id="14" name="Picture 2" descr="C:\Users\MAV~1.SKA\AppData\Local\Temp\SNAGHTMLe48c1e.PNG">
            <a:extLst>
              <a:ext uri="{FF2B5EF4-FFF2-40B4-BE49-F238E27FC236}">
                <a16:creationId xmlns:a16="http://schemas.microsoft.com/office/drawing/2014/main" id="{F708B370-AE70-4A27-B119-8EF9D44A864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4602" y="1146295"/>
            <a:ext cx="488138" cy="7303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 Box 2">
            <a:extLst>
              <a:ext uri="{FF2B5EF4-FFF2-40B4-BE49-F238E27FC236}">
                <a16:creationId xmlns:a16="http://schemas.microsoft.com/office/drawing/2014/main" id="{7C6D8E13-F0A9-435D-9036-09F4FBFA7C4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1800" y="1034423"/>
            <a:ext cx="1980000" cy="3596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 &amp; slide elements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 predefined slides and elements from the Templafy button. Choos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and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 elements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from the dropdown menu or from the buttons in the Templafy pane on the right side of the screen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you will find folders such as:</a:t>
            </a: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Title Slides, Design Elements, Maps and many more categories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 elements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you will find folders such as: Flags, Pictogram, Arrow and many more work files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 &amp; layouts</a:t>
            </a:r>
            <a:b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on the menu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ome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ab to insert a new slide</a:t>
            </a: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hange layout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675" dirty="0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Click on the arrow next to </a:t>
            </a:r>
            <a:r>
              <a:rPr lang="en-GB" sz="675" b="1" dirty="0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Layout </a:t>
            </a:r>
            <a:r>
              <a:rPr lang="en-GB" sz="675" dirty="0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to view a dropdown menu of possible slide layouts</a:t>
            </a:r>
            <a:b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675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GB" altLang="da-DK" sz="675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menu to reset position, size</a:t>
            </a:r>
            <a:r>
              <a:rPr lang="en-GB" altLang="da-DK" sz="675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and formatting of the slide placeholders to their default settings</a:t>
            </a:r>
            <a:endParaRPr lang="en-GB" altLang="da-DK" sz="675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29" name="Picture 16">
            <a:extLst>
              <a:ext uri="{FF2B5EF4-FFF2-40B4-BE49-F238E27FC236}">
                <a16:creationId xmlns:a16="http://schemas.microsoft.com/office/drawing/2014/main" id="{B367A6D6-7164-4A6D-BAC6-3F42961A757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394465" y="2905342"/>
            <a:ext cx="246661" cy="379126"/>
          </a:xfrm>
          <a:prstGeom prst="rect">
            <a:avLst/>
          </a:prstGeom>
        </p:spPr>
      </p:pic>
      <p:pic>
        <p:nvPicPr>
          <p:cNvPr id="30" name="Picture 20">
            <a:extLst>
              <a:ext uri="{FF2B5EF4-FFF2-40B4-BE49-F238E27FC236}">
                <a16:creationId xmlns:a16="http://schemas.microsoft.com/office/drawing/2014/main" id="{2570CFF1-A3F5-41FA-AA2D-BA1928307544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2394465" y="4022417"/>
            <a:ext cx="403849" cy="129631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17C7950F-B500-469D-A258-255A3518B40E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2394464" y="3511990"/>
            <a:ext cx="356571" cy="132572"/>
          </a:xfrm>
          <a:prstGeom prst="rect">
            <a:avLst/>
          </a:prstGeom>
        </p:spPr>
      </p:pic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431800" y="336535"/>
            <a:ext cx="8278813" cy="48762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2400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Tips &amp; tricks - your user guide</a:t>
            </a:r>
          </a:p>
        </p:txBody>
      </p:sp>
      <p:sp>
        <p:nvSpPr>
          <p:cNvPr id="20" name="Date Placeholder 6" hidden="1">
            <a:extLst>
              <a:ext uri="{FF2B5EF4-FFF2-40B4-BE49-F238E27FC236}">
                <a16:creationId xmlns:a16="http://schemas.microsoft.com/office/drawing/2014/main" id="{56AA1691-6753-45B8-AB77-1105989467F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1" name="Footer Placeholder 8" hidden="1">
            <a:extLst>
              <a:ext uri="{FF2B5EF4-FFF2-40B4-BE49-F238E27FC236}">
                <a16:creationId xmlns:a16="http://schemas.microsoft.com/office/drawing/2014/main" id="{2F8C9320-E8BF-471F-8DD3-1BC47902191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51920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50"/>
              </a:spcBef>
              <a:buClr>
                <a:srgbClr val="003755"/>
              </a:buClr>
            </a:pPr>
            <a:endParaRPr lang="en-GB" sz="105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322660" y="492618"/>
            <a:ext cx="8517733" cy="21698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3300" b="0" noProof="0" dirty="0">
                <a:solidFill>
                  <a:schemeClr val="bg1"/>
                </a:solidFill>
              </a:rPr>
              <a:t>If you see any </a:t>
            </a:r>
            <a:r>
              <a:rPr lang="en-GB" sz="3300" b="1" i="1" noProof="0" dirty="0">
                <a:solidFill>
                  <a:schemeClr val="bg1"/>
                </a:solidFill>
              </a:rPr>
              <a:t>layouts after this </a:t>
            </a:r>
            <a:r>
              <a:rPr lang="en-GB" sz="3300" b="0" i="0" noProof="0" dirty="0">
                <a:solidFill>
                  <a:schemeClr val="bg1"/>
                </a:solidFill>
              </a:rPr>
              <a:t>one</a:t>
            </a:r>
            <a:r>
              <a:rPr lang="en-GB" sz="3300" b="1" i="1" noProof="0" dirty="0">
                <a:solidFill>
                  <a:schemeClr val="bg1"/>
                </a:solidFill>
              </a:rPr>
              <a:t>,</a:t>
            </a:r>
            <a:br>
              <a:rPr lang="en-GB" sz="3300" b="0" i="0" noProof="0" dirty="0">
                <a:solidFill>
                  <a:schemeClr val="bg1"/>
                </a:solidFill>
              </a:rPr>
            </a:br>
            <a:r>
              <a:rPr lang="en-GB" sz="3300" b="0" noProof="0" dirty="0">
                <a:solidFill>
                  <a:schemeClr val="bg1"/>
                </a:solidFill>
              </a:rPr>
              <a:t>do not use them. These layouts </a:t>
            </a:r>
            <a:r>
              <a:rPr lang="en-GB" sz="3300" b="1" i="1" u="none" noProof="0" dirty="0">
                <a:solidFill>
                  <a:schemeClr val="bg1"/>
                </a:solidFill>
              </a:rPr>
              <a:t>are not </a:t>
            </a:r>
            <a:r>
              <a:rPr lang="en-GB" sz="3300" b="0" noProof="0" dirty="0">
                <a:solidFill>
                  <a:schemeClr val="bg1"/>
                </a:solidFill>
              </a:rPr>
              <a:t>part of our corporate template.</a:t>
            </a:r>
            <a:br>
              <a:rPr lang="en-GB" sz="2100" b="0" noProof="0" dirty="0">
                <a:solidFill>
                  <a:schemeClr val="bg1"/>
                </a:solidFill>
              </a:rPr>
            </a:br>
            <a:br>
              <a:rPr lang="en-GB" sz="2100" b="0" noProof="0" dirty="0">
                <a:solidFill>
                  <a:schemeClr val="bg1"/>
                </a:solidFill>
              </a:rPr>
            </a:br>
            <a:endParaRPr lang="en-GB" sz="21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>
          <a:xfrm rot="8100000">
            <a:off x="7803656" y="2493920"/>
            <a:ext cx="777591" cy="777591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50"/>
                </a:spcBef>
                <a:buClr>
                  <a:srgbClr val="003755"/>
                </a:buClr>
              </a:pPr>
              <a:endParaRPr lang="en-GB" sz="105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50"/>
                </a:spcBef>
                <a:buClr>
                  <a:srgbClr val="003755"/>
                </a:buClr>
              </a:pPr>
              <a:endParaRPr lang="en-GB" sz="105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322660" y="1941281"/>
            <a:ext cx="7614260" cy="16850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0350" b="1" i="1" noProof="0" dirty="0">
                <a:solidFill>
                  <a:schemeClr val="bg1"/>
                </a:solidFill>
              </a:rPr>
              <a:t>Do not use </a:t>
            </a:r>
            <a:endParaRPr lang="en-GB" sz="1800" b="1" i="1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322660" y="3889841"/>
            <a:ext cx="8517731" cy="6642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1350" b="0" noProof="0" dirty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1350" b="0" noProof="0" dirty="0">
                <a:solidFill>
                  <a:schemeClr val="bg1"/>
                </a:solidFill>
              </a:rPr>
              <a:t>Also notice: Layouts after this might contain potential confidential information.</a:t>
            </a:r>
            <a:br>
              <a:rPr lang="en-GB" sz="1200" b="0" noProof="0" dirty="0">
                <a:solidFill>
                  <a:schemeClr val="bg1"/>
                </a:solidFill>
              </a:rPr>
            </a:br>
            <a:endParaRPr lang="en-GB" sz="1200" b="0" noProof="0" dirty="0">
              <a:solidFill>
                <a:schemeClr val="bg1"/>
              </a:solidFill>
            </a:endParaRP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706505A8-87EA-4BA0-B698-35156BC765D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AB150C2C-2030-498B-8262-6BD5BCCBB34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013998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 -SlideProof Automatic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Rectangle 51">
            <a:extLst>
              <a:ext uri="{FF2B5EF4-FFF2-40B4-BE49-F238E27FC236}">
                <a16:creationId xmlns:a16="http://schemas.microsoft.com/office/drawing/2014/main" id="{21EEB37D-7200-466D-8126-8B9017DECD8B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431969" y="1143346"/>
            <a:ext cx="8286100" cy="276999"/>
            <a:chOff x="1792773" y="2085631"/>
            <a:chExt cx="8649951" cy="369332"/>
          </a:xfrm>
        </p:grpSpPr>
        <p:sp>
          <p:nvSpPr>
            <p:cNvPr id="20" name="Textbox"/>
            <p:cNvSpPr txBox="1">
              <a:spLocks/>
            </p:cNvSpPr>
            <p:nvPr userDrawn="1"/>
          </p:nvSpPr>
          <p:spPr>
            <a:xfrm>
              <a:off x="3278662" y="2085631"/>
              <a:ext cx="6426329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150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21" name="Textbox"/>
            <p:cNvSpPr txBox="1">
              <a:spLocks/>
            </p:cNvSpPr>
            <p:nvPr userDrawn="1"/>
          </p:nvSpPr>
          <p:spPr>
            <a:xfrm>
              <a:off x="1792773" y="2085631"/>
              <a:ext cx="379556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150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22" name="Textbox"/>
            <p:cNvSpPr txBox="1">
              <a:spLocks/>
            </p:cNvSpPr>
            <p:nvPr userDrawn="1"/>
          </p:nvSpPr>
          <p:spPr>
            <a:xfrm>
              <a:off x="9817944" y="2085631"/>
              <a:ext cx="624780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GB" sz="150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24" name="Textbox"/>
            <p:cNvSpPr txBox="1">
              <a:spLocks/>
            </p:cNvSpPr>
            <p:nvPr userDrawn="1"/>
          </p:nvSpPr>
          <p:spPr>
            <a:xfrm>
              <a:off x="7768928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TIMESLOT&gt;</a:t>
              </a:r>
            </a:p>
          </p:txBody>
        </p:sp>
        <p:sp>
          <p:nvSpPr>
            <p:cNvPr id="28" name="Textbox"/>
            <p:cNvSpPr txBox="1">
              <a:spLocks/>
            </p:cNvSpPr>
            <p:nvPr userDrawn="1"/>
          </p:nvSpPr>
          <p:spPr>
            <a:xfrm>
              <a:off x="5920281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RESPONSIBLE&gt;</a:t>
              </a:r>
            </a:p>
          </p:txBody>
        </p:sp>
        <p:sp>
          <p:nvSpPr>
            <p:cNvPr id="29" name="Textbox"/>
            <p:cNvSpPr txBox="1">
              <a:spLocks/>
            </p:cNvSpPr>
            <p:nvPr userDrawn="1"/>
          </p:nvSpPr>
          <p:spPr>
            <a:xfrm>
              <a:off x="866535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431784" y="1431071"/>
            <a:ext cx="8276616" cy="276999"/>
            <a:chOff x="1792768" y="2616963"/>
            <a:chExt cx="8650728" cy="369332"/>
          </a:xfrm>
          <a:noFill/>
        </p:grpSpPr>
        <p:sp>
          <p:nvSpPr>
            <p:cNvPr id="32" name="Textbox"/>
            <p:cNvSpPr txBox="1">
              <a:spLocks/>
            </p:cNvSpPr>
            <p:nvPr userDrawn="1"/>
          </p:nvSpPr>
          <p:spPr>
            <a:xfrm>
              <a:off x="3281438" y="2616963"/>
              <a:ext cx="6433325" cy="369332"/>
            </a:xfrm>
            <a:prstGeom prst="rect">
              <a:avLst/>
            </a:prstGeom>
            <a:grp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1500" b="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33" name="Textbox"/>
            <p:cNvSpPr txBox="1">
              <a:spLocks/>
            </p:cNvSpPr>
            <p:nvPr userDrawn="1"/>
          </p:nvSpPr>
          <p:spPr>
            <a:xfrm>
              <a:off x="1792768" y="2616963"/>
              <a:ext cx="379556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1500" b="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34" name="Textbox"/>
            <p:cNvSpPr txBox="1">
              <a:spLocks/>
            </p:cNvSpPr>
            <p:nvPr userDrawn="1"/>
          </p:nvSpPr>
          <p:spPr>
            <a:xfrm>
              <a:off x="9817944" y="2616963"/>
              <a:ext cx="625552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GB" sz="1500" b="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35" name="Textbox"/>
            <p:cNvSpPr txBox="1">
              <a:spLocks/>
            </p:cNvSpPr>
            <p:nvPr userDrawn="1"/>
          </p:nvSpPr>
          <p:spPr>
            <a:xfrm>
              <a:off x="7776308" y="2616963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TIMESLOT&gt;</a:t>
              </a:r>
            </a:p>
          </p:txBody>
        </p:sp>
        <p:sp>
          <p:nvSpPr>
            <p:cNvPr id="36" name="Textbox"/>
            <p:cNvSpPr txBox="1">
              <a:spLocks/>
            </p:cNvSpPr>
            <p:nvPr userDrawn="1"/>
          </p:nvSpPr>
          <p:spPr>
            <a:xfrm>
              <a:off x="5926850" y="2616963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RESPONSIBLE&gt;</a:t>
              </a:r>
            </a:p>
          </p:txBody>
        </p:sp>
        <p:sp>
          <p:nvSpPr>
            <p:cNvPr id="37" name="Textbox"/>
            <p:cNvSpPr txBox="1">
              <a:spLocks/>
            </p:cNvSpPr>
            <p:nvPr userDrawn="1"/>
          </p:nvSpPr>
          <p:spPr>
            <a:xfrm>
              <a:off x="8673839" y="2616963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431802" y="1714096"/>
            <a:ext cx="8277502" cy="276999"/>
            <a:chOff x="2261179" y="3155687"/>
            <a:chExt cx="8173718" cy="369332"/>
          </a:xfrm>
        </p:grpSpPr>
        <p:sp>
          <p:nvSpPr>
            <p:cNvPr id="39" name="Textbox"/>
            <p:cNvSpPr txBox="1">
              <a:spLocks/>
            </p:cNvSpPr>
            <p:nvPr userDrawn="1"/>
          </p:nvSpPr>
          <p:spPr>
            <a:xfrm>
              <a:off x="3667612" y="3155687"/>
              <a:ext cx="6077933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150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0" name="Textbox"/>
            <p:cNvSpPr txBox="1">
              <a:spLocks/>
            </p:cNvSpPr>
            <p:nvPr userDrawn="1"/>
          </p:nvSpPr>
          <p:spPr>
            <a:xfrm>
              <a:off x="2261179" y="3155687"/>
              <a:ext cx="379556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150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1" name="Textbox"/>
            <p:cNvSpPr txBox="1">
              <a:spLocks/>
            </p:cNvSpPr>
            <p:nvPr userDrawn="1"/>
          </p:nvSpPr>
          <p:spPr>
            <a:xfrm>
              <a:off x="9843902" y="3155687"/>
              <a:ext cx="590995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GB" sz="150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2" name="Textbox"/>
            <p:cNvSpPr txBox="1">
              <a:spLocks/>
            </p:cNvSpPr>
            <p:nvPr userDrawn="1"/>
          </p:nvSpPr>
          <p:spPr>
            <a:xfrm>
              <a:off x="7914175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TIMESLOT&gt;</a:t>
              </a:r>
            </a:p>
          </p:txBody>
        </p:sp>
        <p:sp>
          <p:nvSpPr>
            <p:cNvPr id="43" name="Textbox"/>
            <p:cNvSpPr txBox="1">
              <a:spLocks/>
            </p:cNvSpPr>
            <p:nvPr userDrawn="1"/>
          </p:nvSpPr>
          <p:spPr>
            <a:xfrm>
              <a:off x="6166884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RESPONSIBLE&gt;</a:t>
              </a:r>
            </a:p>
          </p:txBody>
        </p:sp>
        <p:sp>
          <p:nvSpPr>
            <p:cNvPr id="44" name="Textbox"/>
            <p:cNvSpPr txBox="1">
              <a:spLocks/>
            </p:cNvSpPr>
            <p:nvPr userDrawn="1"/>
          </p:nvSpPr>
          <p:spPr>
            <a:xfrm>
              <a:off x="8762124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431799" y="1999469"/>
            <a:ext cx="8277503" cy="276999"/>
            <a:chOff x="2261179" y="3694411"/>
            <a:chExt cx="8173718" cy="369332"/>
          </a:xfrm>
          <a:noFill/>
        </p:grpSpPr>
        <p:sp>
          <p:nvSpPr>
            <p:cNvPr id="46" name="Textbox"/>
            <p:cNvSpPr txBox="1">
              <a:spLocks/>
            </p:cNvSpPr>
            <p:nvPr userDrawn="1"/>
          </p:nvSpPr>
          <p:spPr>
            <a:xfrm>
              <a:off x="3667612" y="3694411"/>
              <a:ext cx="6077933" cy="369332"/>
            </a:xfrm>
            <a:prstGeom prst="rect">
              <a:avLst/>
            </a:prstGeom>
            <a:grp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1500" b="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7" name="Textbox"/>
            <p:cNvSpPr txBox="1">
              <a:spLocks/>
            </p:cNvSpPr>
            <p:nvPr userDrawn="1"/>
          </p:nvSpPr>
          <p:spPr>
            <a:xfrm>
              <a:off x="2261179" y="3694411"/>
              <a:ext cx="379556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1500" b="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8" name="Textbox"/>
            <p:cNvSpPr txBox="1">
              <a:spLocks/>
            </p:cNvSpPr>
            <p:nvPr userDrawn="1"/>
          </p:nvSpPr>
          <p:spPr>
            <a:xfrm>
              <a:off x="9843902" y="3694411"/>
              <a:ext cx="590995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GB" sz="1500" b="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9" name="Textbox"/>
            <p:cNvSpPr txBox="1">
              <a:spLocks/>
            </p:cNvSpPr>
            <p:nvPr userDrawn="1"/>
          </p:nvSpPr>
          <p:spPr>
            <a:xfrm>
              <a:off x="7914175" y="3694411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TIMESLOT&gt;</a:t>
              </a:r>
            </a:p>
          </p:txBody>
        </p:sp>
        <p:sp>
          <p:nvSpPr>
            <p:cNvPr id="50" name="Textbox"/>
            <p:cNvSpPr txBox="1">
              <a:spLocks/>
            </p:cNvSpPr>
            <p:nvPr userDrawn="1"/>
          </p:nvSpPr>
          <p:spPr>
            <a:xfrm>
              <a:off x="6166886" y="3694411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RESPONSIBLE&gt;</a:t>
              </a:r>
            </a:p>
          </p:txBody>
        </p:sp>
        <p:sp>
          <p:nvSpPr>
            <p:cNvPr id="51" name="Textbox"/>
            <p:cNvSpPr txBox="1">
              <a:spLocks/>
            </p:cNvSpPr>
            <p:nvPr userDrawn="1"/>
          </p:nvSpPr>
          <p:spPr>
            <a:xfrm>
              <a:off x="8762125" y="3694411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DURATION&gt;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9165E74-A6E6-40F4-946C-FFD2950A9E2B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/>
          <a:lstStyle>
            <a:lvl1pPr>
              <a:defRPr sz="405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genda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2E2347-D054-4BE1-B696-594B5B14D49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1AE4B4-561D-4BE3-9774-6EED273A0A2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53" name="Logo">
            <a:extLst>
              <a:ext uri="{FF2B5EF4-FFF2-40B4-BE49-F238E27FC236}">
                <a16:creationId xmlns:a16="http://schemas.microsoft.com/office/drawing/2014/main" id="{9209CACE-99A8-4426-9195-5179941423B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54" name="Slide Number Placeholder 5 (FAST)">
            <a:extLst>
              <a:ext uri="{FF2B5EF4-FFF2-40B4-BE49-F238E27FC236}">
                <a16:creationId xmlns:a16="http://schemas.microsoft.com/office/drawing/2014/main" id="{0EE03122-080A-448B-8ECB-6C5DA2A8E4B6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84961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- SlideProof Automatic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C2C75C55-8251-4D96-98FF-6B0D5D924280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433389" y="1155114"/>
            <a:ext cx="8438812" cy="276999"/>
            <a:chOff x="1830131" y="2085631"/>
            <a:chExt cx="6631327" cy="369332"/>
          </a:xfrm>
        </p:grpSpPr>
        <p:sp>
          <p:nvSpPr>
            <p:cNvPr id="72" name="Textbox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863041" y="2085631"/>
              <a:ext cx="5598417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 defTabSz="7000700">
                <a:tabLst>
                  <a:tab pos="7134047" algn="l"/>
                </a:tabLst>
              </a:pPr>
              <a:r>
                <a:rPr lang="en-GB" sz="4050" b="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73" name="Textbox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830131" y="2085631"/>
              <a:ext cx="251165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74" name="Textbox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75" name="Textbox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76" name="Textbox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77" name="Textbox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880024" y="1714064"/>
            <a:ext cx="7992174" cy="276999"/>
            <a:chOff x="2070583" y="2085631"/>
            <a:chExt cx="6390874" cy="369332"/>
          </a:xfrm>
        </p:grpSpPr>
        <p:sp>
          <p:nvSpPr>
            <p:cNvPr id="79" name="Textbox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027181" y="2085631"/>
              <a:ext cx="5434276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2700" b="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80" name="Textbox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070583" y="2085631"/>
              <a:ext cx="379556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en-GB" sz="2700" b="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81" name="Textbox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82" name="Textbox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83" name="Textbox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84" name="Textbox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DE03093-7FDA-45E2-9ECD-2DB190A59F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317EF7F-6E87-4AD5-9A77-ACDC47ED86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21" name="Logo">
            <a:extLst>
              <a:ext uri="{FF2B5EF4-FFF2-40B4-BE49-F238E27FC236}">
                <a16:creationId xmlns:a16="http://schemas.microsoft.com/office/drawing/2014/main" id="{B7FB6307-7921-4F62-9567-7CE4D5ED6DF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22" name="Slide Number Placeholder 5 (FAST)">
            <a:extLst>
              <a:ext uri="{FF2B5EF4-FFF2-40B4-BE49-F238E27FC236}">
                <a16:creationId xmlns:a16="http://schemas.microsoft.com/office/drawing/2014/main" id="{4C3C721D-4D46-4B5F-9280-22EBC4B4C94E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8185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ggund">
            <a:extLst>
              <a:ext uri="{FF2B5EF4-FFF2-40B4-BE49-F238E27FC236}">
                <a16:creationId xmlns:a16="http://schemas.microsoft.com/office/drawing/2014/main" id="{C97E494B-1242-4CDF-8717-F2C28081C7B1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FBD095B-30F1-4036-8224-02A6852D525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000" cy="51435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72000" tIns="72000">
            <a:noAutofit/>
          </a:bodyPr>
          <a:lstStyle>
            <a:lvl1pPr marL="0" indent="0" algn="l">
              <a:buNone/>
              <a:defRPr sz="10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on frame and insert dark picture using the Insert tab › Pictures or insert picture via Templafy Images</a:t>
            </a:r>
          </a:p>
        </p:txBody>
      </p:sp>
      <p:sp>
        <p:nvSpPr>
          <p:cNvPr id="9" name="Text Placeholder logo">
            <a:extLst>
              <a:ext uri="{FF2B5EF4-FFF2-40B4-BE49-F238E27FC236}">
                <a16:creationId xmlns:a16="http://schemas.microsoft.com/office/drawing/2014/main" id="{1C420F0E-28F4-45E9-AEF3-1A90B860DED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000" y="252000"/>
            <a:ext cx="828000" cy="226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3387" y="1026000"/>
            <a:ext cx="7128000" cy="1242000"/>
          </a:xfrm>
        </p:spPr>
        <p:txBody>
          <a:bodyPr anchor="t"/>
          <a:lstStyle>
            <a:lvl1pPr algn="l" eaLnBrk="1">
              <a:lnSpc>
                <a:spcPct val="95000"/>
              </a:lnSpc>
              <a:defRPr sz="4800">
                <a:solidFill>
                  <a:schemeClr val="bg1"/>
                </a:solidFill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999" y="2516400"/>
            <a:ext cx="7128000" cy="550800"/>
          </a:xfrm>
        </p:spPr>
        <p:txBody>
          <a:bodyPr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baseline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400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 baseline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432000" y="4766400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76850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ime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206AF1DB-5B44-40E3-894A-ED4661FC209D}"/>
              </a:ext>
            </a:extLst>
          </p:cNvPr>
          <p:cNvSpPr/>
          <p:nvPr userDrawn="1"/>
        </p:nvSpPr>
        <p:spPr bwMode="white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1866EA2-3E59-4F1F-9491-F0B8D3CB6D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5088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Agenda title</a:t>
            </a:r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D485AA6-92EE-46D3-8826-CF357E1A45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2000" y="1029600"/>
            <a:ext cx="1209600" cy="3420000"/>
          </a:xfrm>
        </p:spPr>
        <p:txBody>
          <a:bodyPr/>
          <a:lstStyle>
            <a:lvl1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09:00-10:00</a:t>
            </a:r>
          </a:p>
          <a:p>
            <a:pPr lvl="1"/>
            <a:r>
              <a:rPr lang="en-GB" dirty="0"/>
              <a:t>02</a:t>
            </a:r>
          </a:p>
          <a:p>
            <a:pPr lvl="2"/>
            <a:r>
              <a:rPr lang="en-GB" dirty="0"/>
              <a:t>03</a:t>
            </a:r>
          </a:p>
          <a:p>
            <a:pPr lvl="3"/>
            <a:r>
              <a:rPr lang="en-GB" dirty="0"/>
              <a:t>04</a:t>
            </a:r>
          </a:p>
          <a:p>
            <a:pPr lvl="4"/>
            <a:r>
              <a:rPr lang="en-GB" dirty="0"/>
              <a:t>05</a:t>
            </a:r>
          </a:p>
          <a:p>
            <a:pPr lvl="5"/>
            <a:r>
              <a:rPr lang="en-GB" dirty="0"/>
              <a:t>06</a:t>
            </a:r>
          </a:p>
          <a:p>
            <a:pPr lvl="6"/>
            <a:r>
              <a:rPr lang="en-GB" dirty="0"/>
              <a:t>07</a:t>
            </a:r>
          </a:p>
          <a:p>
            <a:pPr lvl="7"/>
            <a:r>
              <a:rPr lang="en-GB" dirty="0"/>
              <a:t>08</a:t>
            </a:r>
          </a:p>
          <a:p>
            <a:pPr lvl="8"/>
            <a:r>
              <a:rPr lang="en-GB" dirty="0"/>
              <a:t>09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908901" y="1029600"/>
            <a:ext cx="6803300" cy="3420000"/>
          </a:xfrm>
        </p:spPr>
        <p:txBody>
          <a:bodyPr/>
          <a:lstStyle>
            <a:lvl1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Agenda point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F917D078-86DA-42DB-B911-886B29E5F76B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2B6D7C61-B973-4F81-8768-45AD5C0D342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0D92C097-0F71-4A74-B24B-EA803C23A9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4" name="Slide Number Placeholder 5 (FAST)">
            <a:extLst>
              <a:ext uri="{FF2B5EF4-FFF2-40B4-BE49-F238E27FC236}">
                <a16:creationId xmlns:a16="http://schemas.microsoft.com/office/drawing/2014/main" id="{E2752BD8-BE4E-4AD0-A94A-BD3DC589BC77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83169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206AF1DB-5B44-40E3-894A-ED4661FC209D}"/>
              </a:ext>
            </a:extLst>
          </p:cNvPr>
          <p:cNvSpPr/>
          <p:nvPr userDrawn="1"/>
        </p:nvSpPr>
        <p:spPr bwMode="white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1866EA2-3E59-4F1F-9491-F0B8D3CB6D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5088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Agenda title</a:t>
            </a:r>
            <a:endParaRPr lang="en-GB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9F4716C-9221-4692-8911-EF8F39D2D8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1" y="1029600"/>
            <a:ext cx="8276400" cy="3420000"/>
          </a:xfrm>
        </p:spPr>
        <p:txBody>
          <a:bodyPr tIns="216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add agenda poin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D65CD90-C414-4A15-A278-B6A194770CF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96079E2-07E2-4425-B2D7-C877DDC194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77969EBE-D477-4048-A87C-DD29F953D95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5" name="Slide Number Placeholder 5 (FAST)">
            <a:extLst>
              <a:ext uri="{FF2B5EF4-FFF2-40B4-BE49-F238E27FC236}">
                <a16:creationId xmlns:a16="http://schemas.microsoft.com/office/drawing/2014/main" id="{8363E194-0C85-4CEF-ACEE-EF5BAD2B850B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25843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Tim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ggund"/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2000" y="827088"/>
            <a:ext cx="6948000" cy="2404812"/>
          </a:xfrm>
        </p:spPr>
        <p:txBody>
          <a:bodyPr anchor="t" anchorCtr="0"/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9CAB55B8-171B-4F1C-833B-2E4E8489F7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2000" y="250825"/>
            <a:ext cx="6948000" cy="576263"/>
          </a:xfrm>
        </p:spPr>
        <p:txBody>
          <a:bodyPr tIns="0" bIns="0" anchor="t" anchorCtr="0"/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 b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</a:lstStyle>
          <a:p>
            <a:pPr lvl="0"/>
            <a:r>
              <a:rPr lang="en-GB" dirty="0"/>
              <a:t>Click to add tim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3113E86-62B0-4A42-8910-20CA5360F85E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881767-1FB6-446D-91F4-4B622059F5E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CE278556-6C06-4435-A2AE-EA25A1568A3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0" name="Slide Number Placeholder 5 (FAST)">
            <a:extLst>
              <a:ext uri="{FF2B5EF4-FFF2-40B4-BE49-F238E27FC236}">
                <a16:creationId xmlns:a16="http://schemas.microsoft.com/office/drawing/2014/main" id="{1AC19423-0B5F-4075-BF2C-917496EB3979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47064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ggund"/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2000" y="250825"/>
            <a:ext cx="6948000" cy="3542675"/>
          </a:xfrm>
        </p:spPr>
        <p:txBody>
          <a:bodyPr anchor="t" anchorCtr="0"/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5F9D778-5323-4710-AF37-B757018966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39412F9-6B5D-4840-B0BF-C93A26CF70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6201C7F1-CEFA-461D-821F-AB5BD61F2D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73ED603D-6388-4533-B1AD-A8A9B97A82BC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3574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light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ggund">
            <a:extLst>
              <a:ext uri="{FF2B5EF4-FFF2-40B4-BE49-F238E27FC236}">
                <a16:creationId xmlns:a16="http://schemas.microsoft.com/office/drawing/2014/main" id="{0B4DB74D-201F-4D10-88F9-7058A4F6DAB5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22" name="Slide Number Placeholder 5 (FAST)">
            <a:extLst>
              <a:ext uri="{FF2B5EF4-FFF2-40B4-BE49-F238E27FC236}">
                <a16:creationId xmlns:a16="http://schemas.microsoft.com/office/drawing/2014/main" id="{34AB8DD2-BA18-481C-B2B2-070E0605BDA0}"/>
              </a:ext>
            </a:extLst>
          </p:cNvPr>
          <p:cNvSpPr txBox="1">
            <a:spLocks/>
          </p:cNvSpPr>
          <p:nvPr userDrawn="1"/>
        </p:nvSpPr>
        <p:spPr>
          <a:xfrm>
            <a:off x="8482459" y="4806209"/>
            <a:ext cx="231329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Picture Placeholder 1">
            <a:extLst>
              <a:ext uri="{FF2B5EF4-FFF2-40B4-BE49-F238E27FC236}">
                <a16:creationId xmlns:a16="http://schemas.microsoft.com/office/drawing/2014/main" id="{A29CC775-EF9B-4EFE-84DC-55B293A21DE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899" cy="514619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0" tIns="576000" bIns="0" anchor="ctr" anchorCtr="0">
            <a:noAutofit/>
          </a:bodyPr>
          <a:lstStyle>
            <a:lvl1pPr marL="0" indent="0" algn="ctr">
              <a:buNone/>
              <a:defRPr sz="1200" b="0"/>
            </a:lvl1pPr>
          </a:lstStyle>
          <a:p>
            <a:r>
              <a:rPr lang="en-GB" dirty="0"/>
              <a:t>Click icon to add light picture or click on frame and insert picture via Templafy Images</a:t>
            </a:r>
          </a:p>
        </p:txBody>
      </p:sp>
      <p:sp>
        <p:nvSpPr>
          <p:cNvPr id="21" name="Text Placeholder logo">
            <a:extLst>
              <a:ext uri="{FF2B5EF4-FFF2-40B4-BE49-F238E27FC236}">
                <a16:creationId xmlns:a16="http://schemas.microsoft.com/office/drawing/2014/main" id="{233F969C-C7AD-4BCC-B5FD-087EAB2C46D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344800" y="4814424"/>
            <a:ext cx="367200" cy="100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E0E29ED-1235-44A1-A6AD-E20666D3B1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800" y="250826"/>
            <a:ext cx="6948000" cy="2052000"/>
          </a:xfrm>
        </p:spPr>
        <p:txBody>
          <a:bodyPr anchor="t" anchorCtr="0"/>
          <a:lstStyle>
            <a:lvl1pPr algn="l"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Footer Placeholder 6" hidden="1">
            <a:extLst>
              <a:ext uri="{FF2B5EF4-FFF2-40B4-BE49-F238E27FC236}">
                <a16:creationId xmlns:a16="http://schemas.microsoft.com/office/drawing/2014/main" id="{DFF77965-4468-4EDB-BB15-0B43C7ED1170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0" name="Pladsholder til dato 12" hidden="1">
            <a:extLst>
              <a:ext uri="{FF2B5EF4-FFF2-40B4-BE49-F238E27FC236}">
                <a16:creationId xmlns:a16="http://schemas.microsoft.com/office/drawing/2014/main" id="{F450F3E5-A67D-4EF2-9F55-E28390DE874F}"/>
              </a:ext>
            </a:extLst>
          </p:cNvPr>
          <p:cNvSpPr>
            <a:spLocks noGrp="1"/>
          </p:cNvSpPr>
          <p:nvPr>
            <p:ph type="dt" sz="half" idx="24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29703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5">
          <p15:clr>
            <a:srgbClr val="A4A3A4"/>
          </p15:clr>
        </p15:guide>
      </p15:sldGuideLst>
    </p:ext>
  </p:extLst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2" Type="http://schemas.openxmlformats.org/officeDocument/2006/relationships/slideLayout" Target="../slideLayouts/slideLayout2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3" Type="http://schemas.openxmlformats.org/officeDocument/2006/relationships/slideLayout" Target="../slideLayouts/slideLayout3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theme" Target="../theme/theme1.xml"/><Relationship Id="rId36" Type="http://schemas.openxmlformats.org/officeDocument/2006/relationships/tags" Target="../tags/tag2.xml"/><Relationship Id="rId37" Type="http://schemas.openxmlformats.org/officeDocument/2006/relationships/tags" Target="../tags/tag3.xml"/><Relationship Id="rId38" Type="http://schemas.openxmlformats.org/officeDocument/2006/relationships/tags" Target="../tags/tag4.xml"/><Relationship Id="rId39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40" Type="http://schemas.openxmlformats.org/officeDocument/2006/relationships/tags" Target="../tags/tag6.xml"/><Relationship Id="rId41" Type="http://schemas.openxmlformats.org/officeDocument/2006/relationships/tags" Target="../tags/tag7.xml"/><Relationship Id="rId42" Type="http://schemas.openxmlformats.org/officeDocument/2006/relationships/tags" Target="../tags/tag8.xml"/><Relationship Id="rId43" Type="http://schemas.openxmlformats.org/officeDocument/2006/relationships/tags" Target="../tags/tag9.xml"/><Relationship Id="rId44" Type="http://schemas.openxmlformats.org/officeDocument/2006/relationships/tags" Target="../tags/tag10.xml"/><Relationship Id="rId45" Type="http://schemas.openxmlformats.org/officeDocument/2006/relationships/tags" Target="../tags/tag11.xml"/><Relationship Id="rId46" Type="http://schemas.openxmlformats.org/officeDocument/2006/relationships/tags" Target="../tags/tag12.xml"/><Relationship Id="rId47" Type="http://schemas.openxmlformats.org/officeDocument/2006/relationships/tags" Target="../tags/tag13.xml"/><Relationship Id="rId48" Type="http://schemas.openxmlformats.org/officeDocument/2006/relationships/tags" Target="../tags/tag14.xml"/><Relationship Id="rId49" Type="http://schemas.openxmlformats.org/officeDocument/2006/relationships/tags" Target="../tags/tag15.xml"/><Relationship Id="rId5" Type="http://schemas.openxmlformats.org/officeDocument/2006/relationships/slideLayout" Target="../slideLayouts/slideLayout5.xml"/><Relationship Id="rId50" Type="http://schemas.openxmlformats.org/officeDocument/2006/relationships/tags" Target="../tags/tag16.xml"/><Relationship Id="rId51" Type="http://schemas.openxmlformats.org/officeDocument/2006/relationships/tags" Target="../tags/tag17.xml"/><Relationship Id="rId52" Type="http://schemas.openxmlformats.org/officeDocument/2006/relationships/tags" Target="../tags/tag18.xml"/><Relationship Id="rId53" Type="http://schemas.openxmlformats.org/officeDocument/2006/relationships/tags" Target="../tags/tag19.xml"/><Relationship Id="rId54" Type="http://schemas.openxmlformats.org/officeDocument/2006/relationships/tags" Target="../tags/tag20.xml"/><Relationship Id="rId55" Type="http://schemas.openxmlformats.org/officeDocument/2006/relationships/tags" Target="../tags/tag21.xml"/><Relationship Id="rId56" Type="http://schemas.openxmlformats.org/officeDocument/2006/relationships/tags" Target="../tags/tag22.xml"/><Relationship Id="rId57" Type="http://schemas.openxmlformats.org/officeDocument/2006/relationships/image" Target="../media/image1.png"/><Relationship Id="rId58" Type="http://schemas.openxmlformats.org/officeDocument/2006/relationships/image" Target="../media/image2.svg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2000" y="252000"/>
            <a:ext cx="8280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000" y="1029599"/>
            <a:ext cx="8280000" cy="342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</a:t>
            </a:r>
          </a:p>
          <a:p>
            <a:pPr lvl="4"/>
            <a:r>
              <a:rPr lang="en-GB" noProof="0" dirty="0"/>
              <a:t>Level 5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85BBB29C-AF5D-474D-8DC6-C992E73BDC22}"/>
              </a:ext>
            </a:extLst>
          </p:cNvPr>
          <p:cNvPicPr>
            <a:picLocks noChangeAspect="1"/>
          </p:cNvPicPr>
          <p:nvPr userDrawn="1"/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>
            <a:off x="8344800" y="4814808"/>
            <a:ext cx="367200" cy="100417"/>
          </a:xfrm>
          <a:prstGeom prst="rect">
            <a:avLst/>
          </a:prstGeom>
        </p:spPr>
      </p:pic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AB618018-A126-4E13-B4A2-591A064ED4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757200" y="4806187"/>
            <a:ext cx="786600" cy="12242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GB" sz="600" smtClean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6C61017-E9EE-48D0-B222-079BF55D56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21200" y="4806187"/>
            <a:ext cx="1800000" cy="12242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GB" sz="600" dirty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grpSp>
        <p:nvGrpSpPr>
          <p:cNvPr id="8" name="Harvey 8" hidden="1">
            <a:extLst>
              <a:ext uri="{FF2B5EF4-FFF2-40B4-BE49-F238E27FC236}">
                <a16:creationId xmlns:a16="http://schemas.microsoft.com/office/drawing/2014/main" id="{B5C3E6DC-9028-49BB-B3A7-9838BAB4A3C2}"/>
              </a:ext>
            </a:extLst>
          </p:cNvPr>
          <p:cNvGrpSpPr>
            <a:grpSpLocks/>
          </p:cNvGrpSpPr>
          <p:nvPr userDrawn="1">
            <p:custDataLst>
              <p:tags r:id="rId36"/>
            </p:custDataLst>
          </p:nvPr>
        </p:nvGrpSpPr>
        <p:grpSpPr>
          <a:xfrm>
            <a:off x="9221001" y="0"/>
            <a:ext cx="292608" cy="292608"/>
            <a:chOff x="0" y="0"/>
            <a:chExt cx="914400" cy="914400"/>
          </a:xfrm>
          <a:solidFill>
            <a:schemeClr val="tx2"/>
          </a:solidFill>
        </p:grpSpPr>
        <p:sp>
          <p:nvSpPr>
            <p:cNvPr id="10" name="Harvey 0/8 [0]">
              <a:extLst>
                <a:ext uri="{FF2B5EF4-FFF2-40B4-BE49-F238E27FC236}">
                  <a16:creationId xmlns:a16="http://schemas.microsoft.com/office/drawing/2014/main" id="{D73F2B36-99AF-452E-A4CE-30A82C0E46EF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3" name="Harvey 1/8 [1]">
              <a:extLst>
                <a:ext uri="{FF2B5EF4-FFF2-40B4-BE49-F238E27FC236}">
                  <a16:creationId xmlns:a16="http://schemas.microsoft.com/office/drawing/2014/main" id="{E76D02E5-0569-48CE-BCC2-CF833134036C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4" name="Harvey 2/8 [2]">
              <a:extLst>
                <a:ext uri="{FF2B5EF4-FFF2-40B4-BE49-F238E27FC236}">
                  <a16:creationId xmlns:a16="http://schemas.microsoft.com/office/drawing/2014/main" id="{F7403225-3E54-4050-8105-58E800163853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5" name="Harvey 3/8 [3]">
              <a:extLst>
                <a:ext uri="{FF2B5EF4-FFF2-40B4-BE49-F238E27FC236}">
                  <a16:creationId xmlns:a16="http://schemas.microsoft.com/office/drawing/2014/main" id="{A3824D64-51BD-49DE-BBA9-3A7E20B6467B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6" name="Harvey 4/8 [4]">
              <a:extLst>
                <a:ext uri="{FF2B5EF4-FFF2-40B4-BE49-F238E27FC236}">
                  <a16:creationId xmlns:a16="http://schemas.microsoft.com/office/drawing/2014/main" id="{39D19455-DC99-4361-9ACB-F108ED0581AF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7" name="Harvey 5/8 [5]">
              <a:extLst>
                <a:ext uri="{FF2B5EF4-FFF2-40B4-BE49-F238E27FC236}">
                  <a16:creationId xmlns:a16="http://schemas.microsoft.com/office/drawing/2014/main" id="{DD06353C-A97B-4A96-8304-54F233F832E4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8" name="Harvey 6/8 [6]">
              <a:extLst>
                <a:ext uri="{FF2B5EF4-FFF2-40B4-BE49-F238E27FC236}">
                  <a16:creationId xmlns:a16="http://schemas.microsoft.com/office/drawing/2014/main" id="{9E343501-3E40-406B-8018-8649EB8FA51C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9" name="Harvey 7/8 [7]">
              <a:extLst>
                <a:ext uri="{FF2B5EF4-FFF2-40B4-BE49-F238E27FC236}">
                  <a16:creationId xmlns:a16="http://schemas.microsoft.com/office/drawing/2014/main" id="{8F4C5207-5473-4EF0-BD4D-341E98E5C589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0" name="Harvey 8/8 [8]">
              <a:extLst>
                <a:ext uri="{FF2B5EF4-FFF2-40B4-BE49-F238E27FC236}">
                  <a16:creationId xmlns:a16="http://schemas.microsoft.com/office/drawing/2014/main" id="{7422FA6C-8552-471A-B0EB-0F92F10332BC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1" name="Harvey 4" hidden="1">
            <a:extLst>
              <a:ext uri="{FF2B5EF4-FFF2-40B4-BE49-F238E27FC236}">
                <a16:creationId xmlns:a16="http://schemas.microsoft.com/office/drawing/2014/main" id="{413A4284-8E26-4668-AF73-C488D2680E2F}"/>
              </a:ext>
            </a:extLst>
          </p:cNvPr>
          <p:cNvGrpSpPr>
            <a:grpSpLocks/>
          </p:cNvGrpSpPr>
          <p:nvPr userDrawn="1">
            <p:custDataLst>
              <p:tags r:id="rId37"/>
            </p:custDataLst>
          </p:nvPr>
        </p:nvGrpSpPr>
        <p:grpSpPr>
          <a:xfrm>
            <a:off x="9221001" y="0"/>
            <a:ext cx="292608" cy="292608"/>
            <a:chOff x="0" y="0"/>
            <a:chExt cx="914400" cy="914400"/>
          </a:xfrm>
          <a:solidFill>
            <a:schemeClr val="tx2"/>
          </a:solidFill>
        </p:grpSpPr>
        <p:sp>
          <p:nvSpPr>
            <p:cNvPr id="22" name="Harvey 0/4 [0]">
              <a:extLst>
                <a:ext uri="{FF2B5EF4-FFF2-40B4-BE49-F238E27FC236}">
                  <a16:creationId xmlns:a16="http://schemas.microsoft.com/office/drawing/2014/main" id="{2BE1A3E0-EED3-45DD-807D-82037D3B4945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3" name="Harvey 1/4 [1]">
              <a:extLst>
                <a:ext uri="{FF2B5EF4-FFF2-40B4-BE49-F238E27FC236}">
                  <a16:creationId xmlns:a16="http://schemas.microsoft.com/office/drawing/2014/main" id="{55524878-8D3A-4A68-90F5-C1C6AF43E446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4" name="Harvey 2/4 [2]">
              <a:extLst>
                <a:ext uri="{FF2B5EF4-FFF2-40B4-BE49-F238E27FC236}">
                  <a16:creationId xmlns:a16="http://schemas.microsoft.com/office/drawing/2014/main" id="{DBEAEB5F-E6DE-4E07-B114-F9A1E82C21A1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5" name="Harvey 3/4 [3]">
              <a:extLst>
                <a:ext uri="{FF2B5EF4-FFF2-40B4-BE49-F238E27FC236}">
                  <a16:creationId xmlns:a16="http://schemas.microsoft.com/office/drawing/2014/main" id="{F59A9C23-DDA2-4A9A-B41D-846ADBB21087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6" name="Harvey 4/4 [4]">
              <a:extLst>
                <a:ext uri="{FF2B5EF4-FFF2-40B4-BE49-F238E27FC236}">
                  <a16:creationId xmlns:a16="http://schemas.microsoft.com/office/drawing/2014/main" id="{144E6F3E-7AFB-4D14-8669-31C8DF74593C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7" name="Harvey 3" hidden="1">
            <a:extLst>
              <a:ext uri="{FF2B5EF4-FFF2-40B4-BE49-F238E27FC236}">
                <a16:creationId xmlns:a16="http://schemas.microsoft.com/office/drawing/2014/main" id="{B2986398-423E-40E4-B68A-4DA28DFDBC0E}"/>
              </a:ext>
            </a:extLst>
          </p:cNvPr>
          <p:cNvGrpSpPr>
            <a:grpSpLocks/>
          </p:cNvGrpSpPr>
          <p:nvPr userDrawn="1">
            <p:custDataLst>
              <p:tags r:id="rId38"/>
            </p:custDataLst>
          </p:nvPr>
        </p:nvGrpSpPr>
        <p:grpSpPr>
          <a:xfrm>
            <a:off x="9221001" y="0"/>
            <a:ext cx="292608" cy="292608"/>
            <a:chOff x="0" y="0"/>
            <a:chExt cx="914400" cy="914400"/>
          </a:xfrm>
          <a:solidFill>
            <a:schemeClr val="tx2"/>
          </a:solidFill>
        </p:grpSpPr>
        <p:sp>
          <p:nvSpPr>
            <p:cNvPr id="28" name="Harvey 0/3 [0]">
              <a:extLst>
                <a:ext uri="{FF2B5EF4-FFF2-40B4-BE49-F238E27FC236}">
                  <a16:creationId xmlns:a16="http://schemas.microsoft.com/office/drawing/2014/main" id="{BF13D4D1-38BB-47B1-918E-B24CD24C6794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9" name="Harvey 1/3 [1]">
              <a:extLst>
                <a:ext uri="{FF2B5EF4-FFF2-40B4-BE49-F238E27FC236}">
                  <a16:creationId xmlns:a16="http://schemas.microsoft.com/office/drawing/2014/main" id="{9B1A069F-AC5A-4A39-9A08-0B08F9DA5B68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30" name="Harvey 2/3 [2]">
              <a:extLst>
                <a:ext uri="{FF2B5EF4-FFF2-40B4-BE49-F238E27FC236}">
                  <a16:creationId xmlns:a16="http://schemas.microsoft.com/office/drawing/2014/main" id="{A727ACA9-73A3-4AC8-BFEF-EB8A2373640A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31" name="Harvey 3/3 [3]">
              <a:extLst>
                <a:ext uri="{FF2B5EF4-FFF2-40B4-BE49-F238E27FC236}">
                  <a16:creationId xmlns:a16="http://schemas.microsoft.com/office/drawing/2014/main" id="{30F9E70B-9B8F-455C-A9B1-FA09C6044BFF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sp>
        <p:nvSpPr>
          <p:cNvPr id="41" name="Traffic lights Red" hidden="1">
            <a:extLst>
              <a:ext uri="{FF2B5EF4-FFF2-40B4-BE49-F238E27FC236}">
                <a16:creationId xmlns:a16="http://schemas.microsoft.com/office/drawing/2014/main" id="{D60F9D9B-EC56-49F4-8772-2D0653904A04}"/>
              </a:ext>
            </a:extLst>
          </p:cNvPr>
          <p:cNvSpPr>
            <a:spLocks noChangeAspect="1"/>
          </p:cNvSpPr>
          <p:nvPr userDrawn="1"/>
        </p:nvSpPr>
        <p:spPr>
          <a:xfrm>
            <a:off x="9221001" y="0"/>
            <a:ext cx="390525" cy="390525"/>
          </a:xfrm>
          <a:prstGeom prst="ellipse">
            <a:avLst/>
          </a:prstGeom>
          <a:solidFill>
            <a:srgbClr val="E85757"/>
          </a:solidFill>
          <a:ln>
            <a:solidFill>
              <a:srgbClr val="E857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 dirty="0"/>
          </a:p>
        </p:txBody>
      </p:sp>
      <p:sp>
        <p:nvSpPr>
          <p:cNvPr id="42" name="Traffic lights Yellow" hidden="1">
            <a:extLst>
              <a:ext uri="{FF2B5EF4-FFF2-40B4-BE49-F238E27FC236}">
                <a16:creationId xmlns:a16="http://schemas.microsoft.com/office/drawing/2014/main" id="{AA0C3F70-A9D3-45D8-B045-61F08EAB5310}"/>
              </a:ext>
            </a:extLst>
          </p:cNvPr>
          <p:cNvSpPr>
            <a:spLocks noChangeAspect="1"/>
          </p:cNvSpPr>
          <p:nvPr userDrawn="1"/>
        </p:nvSpPr>
        <p:spPr>
          <a:xfrm>
            <a:off x="9221001" y="0"/>
            <a:ext cx="390525" cy="390525"/>
          </a:xfrm>
          <a:prstGeom prst="ellipse">
            <a:avLst/>
          </a:prstGeom>
          <a:solidFill>
            <a:srgbClr val="F3D779"/>
          </a:solidFill>
          <a:ln>
            <a:solidFill>
              <a:srgbClr val="F3D77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 dirty="0"/>
          </a:p>
        </p:txBody>
      </p:sp>
      <p:sp>
        <p:nvSpPr>
          <p:cNvPr id="43" name="Traffic lights Green" hidden="1">
            <a:extLst>
              <a:ext uri="{FF2B5EF4-FFF2-40B4-BE49-F238E27FC236}">
                <a16:creationId xmlns:a16="http://schemas.microsoft.com/office/drawing/2014/main" id="{C90A57ED-36FE-46E1-AE9B-434A19EB85D6}"/>
              </a:ext>
            </a:extLst>
          </p:cNvPr>
          <p:cNvSpPr>
            <a:spLocks noChangeAspect="1"/>
          </p:cNvSpPr>
          <p:nvPr userDrawn="1"/>
        </p:nvSpPr>
        <p:spPr>
          <a:xfrm>
            <a:off x="9221001" y="0"/>
            <a:ext cx="390525" cy="390525"/>
          </a:xfrm>
          <a:prstGeom prst="ellipse">
            <a:avLst/>
          </a:prstGeom>
          <a:solidFill>
            <a:srgbClr val="8ECDC8"/>
          </a:solidFill>
          <a:ln>
            <a:solidFill>
              <a:srgbClr val="8ECDC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 dirty="0"/>
          </a:p>
        </p:txBody>
      </p:sp>
      <p:sp>
        <p:nvSpPr>
          <p:cNvPr id="32" name="Call out 1 [Sticker]" hidden="1">
            <a:extLst>
              <a:ext uri="{FF2B5EF4-FFF2-40B4-BE49-F238E27FC236}">
                <a16:creationId xmlns:a16="http://schemas.microsoft.com/office/drawing/2014/main" id="{B7DA51AC-55CB-4274-99F5-F4F49314FD0A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703942" cy="524295"/>
          </a:xfrm>
          <a:custGeom>
            <a:avLst/>
            <a:gdLst>
              <a:gd name="T0" fmla="*/ 329 w 475"/>
              <a:gd name="T1" fmla="*/ 0 h 354"/>
              <a:gd name="T2" fmla="*/ 160 w 475"/>
              <a:gd name="T3" fmla="*/ 0 h 354"/>
              <a:gd name="T4" fmla="*/ 0 w 475"/>
              <a:gd name="T5" fmla="*/ 177 h 354"/>
              <a:gd name="T6" fmla="*/ 160 w 475"/>
              <a:gd name="T7" fmla="*/ 354 h 354"/>
              <a:gd name="T8" fmla="*/ 160 w 475"/>
              <a:gd name="T9" fmla="*/ 292 h 354"/>
              <a:gd name="T10" fmla="*/ 329 w 475"/>
              <a:gd name="T11" fmla="*/ 292 h 354"/>
              <a:gd name="T12" fmla="*/ 475 w 475"/>
              <a:gd name="T13" fmla="*/ 146 h 354"/>
              <a:gd name="T14" fmla="*/ 475 w 475"/>
              <a:gd name="T15" fmla="*/ 146 h 354"/>
              <a:gd name="T16" fmla="*/ 329 w 475"/>
              <a:gd name="T17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5" h="354">
                <a:moveTo>
                  <a:pt x="329" y="0"/>
                </a:moveTo>
                <a:cubicBezTo>
                  <a:pt x="160" y="0"/>
                  <a:pt x="160" y="0"/>
                  <a:pt x="160" y="0"/>
                </a:cubicBezTo>
                <a:cubicBezTo>
                  <a:pt x="71" y="0"/>
                  <a:pt x="0" y="79"/>
                  <a:pt x="0" y="177"/>
                </a:cubicBezTo>
                <a:cubicBezTo>
                  <a:pt x="0" y="275"/>
                  <a:pt x="71" y="354"/>
                  <a:pt x="160" y="354"/>
                </a:cubicBezTo>
                <a:cubicBezTo>
                  <a:pt x="160" y="292"/>
                  <a:pt x="160" y="292"/>
                  <a:pt x="160" y="292"/>
                </a:cubicBezTo>
                <a:cubicBezTo>
                  <a:pt x="329" y="292"/>
                  <a:pt x="329" y="292"/>
                  <a:pt x="329" y="292"/>
                </a:cubicBezTo>
                <a:cubicBezTo>
                  <a:pt x="410" y="292"/>
                  <a:pt x="475" y="226"/>
                  <a:pt x="475" y="146"/>
                </a:cubicBezTo>
                <a:cubicBezTo>
                  <a:pt x="475" y="146"/>
                  <a:pt x="475" y="146"/>
                  <a:pt x="475" y="146"/>
                </a:cubicBezTo>
                <a:cubicBezTo>
                  <a:pt x="475" y="65"/>
                  <a:pt x="410" y="0"/>
                  <a:pt x="329" y="0"/>
                </a:cubicBezTo>
                <a:close/>
              </a:path>
            </a:pathLst>
          </a:custGeom>
          <a:solidFill>
            <a:srgbClr val="644C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2000" tIns="72000" rIns="72000" bIns="14400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33" name="Call out 2 [Sticker]" hidden="1">
            <a:extLst>
              <a:ext uri="{FF2B5EF4-FFF2-40B4-BE49-F238E27FC236}">
                <a16:creationId xmlns:a16="http://schemas.microsoft.com/office/drawing/2014/main" id="{60D09F83-F724-4FAB-B781-E8292AEF07B4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1472053" cy="995129"/>
          </a:xfrm>
          <a:custGeom>
            <a:avLst/>
            <a:gdLst>
              <a:gd name="T0" fmla="*/ 329 w 475"/>
              <a:gd name="T1" fmla="*/ 0 h 354"/>
              <a:gd name="T2" fmla="*/ 160 w 475"/>
              <a:gd name="T3" fmla="*/ 0 h 354"/>
              <a:gd name="T4" fmla="*/ 0 w 475"/>
              <a:gd name="T5" fmla="*/ 177 h 354"/>
              <a:gd name="T6" fmla="*/ 160 w 475"/>
              <a:gd name="T7" fmla="*/ 354 h 354"/>
              <a:gd name="T8" fmla="*/ 160 w 475"/>
              <a:gd name="T9" fmla="*/ 292 h 354"/>
              <a:gd name="T10" fmla="*/ 329 w 475"/>
              <a:gd name="T11" fmla="*/ 292 h 354"/>
              <a:gd name="T12" fmla="*/ 475 w 475"/>
              <a:gd name="T13" fmla="*/ 146 h 354"/>
              <a:gd name="T14" fmla="*/ 475 w 475"/>
              <a:gd name="T15" fmla="*/ 146 h 354"/>
              <a:gd name="T16" fmla="*/ 329 w 475"/>
              <a:gd name="T17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5" h="354">
                <a:moveTo>
                  <a:pt x="329" y="0"/>
                </a:moveTo>
                <a:cubicBezTo>
                  <a:pt x="160" y="0"/>
                  <a:pt x="160" y="0"/>
                  <a:pt x="160" y="0"/>
                </a:cubicBezTo>
                <a:cubicBezTo>
                  <a:pt x="71" y="0"/>
                  <a:pt x="0" y="79"/>
                  <a:pt x="0" y="177"/>
                </a:cubicBezTo>
                <a:cubicBezTo>
                  <a:pt x="0" y="275"/>
                  <a:pt x="71" y="354"/>
                  <a:pt x="160" y="354"/>
                </a:cubicBezTo>
                <a:cubicBezTo>
                  <a:pt x="160" y="292"/>
                  <a:pt x="160" y="292"/>
                  <a:pt x="160" y="292"/>
                </a:cubicBezTo>
                <a:cubicBezTo>
                  <a:pt x="329" y="292"/>
                  <a:pt x="329" y="292"/>
                  <a:pt x="329" y="292"/>
                </a:cubicBezTo>
                <a:cubicBezTo>
                  <a:pt x="410" y="292"/>
                  <a:pt x="475" y="226"/>
                  <a:pt x="475" y="146"/>
                </a:cubicBezTo>
                <a:cubicBezTo>
                  <a:pt x="475" y="146"/>
                  <a:pt x="475" y="146"/>
                  <a:pt x="475" y="146"/>
                </a:cubicBezTo>
                <a:cubicBezTo>
                  <a:pt x="475" y="65"/>
                  <a:pt x="410" y="0"/>
                  <a:pt x="329" y="0"/>
                </a:cubicBezTo>
                <a:close/>
              </a:path>
            </a:pathLst>
          </a:custGeom>
          <a:solidFill>
            <a:srgbClr val="644C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324000" tIns="0" rIns="72000" bIns="144000" numCol="1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6000"/>
              </a:lnSpc>
            </a:pPr>
            <a:r>
              <a:rPr lang="en-GB" sz="1000" b="1" dirty="0">
                <a:solidFill>
                  <a:schemeClr val="bg1"/>
                </a:solidFill>
              </a:rPr>
              <a:t>Click to add text</a:t>
            </a:r>
          </a:p>
        </p:txBody>
      </p:sp>
      <p:sp>
        <p:nvSpPr>
          <p:cNvPr id="34" name="Call out 3 [Sticker]" hidden="1">
            <a:extLst>
              <a:ext uri="{FF2B5EF4-FFF2-40B4-BE49-F238E27FC236}">
                <a16:creationId xmlns:a16="http://schemas.microsoft.com/office/drawing/2014/main" id="{97B57B16-C10A-4201-8AC7-D97E350A6AFF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1750706" cy="1183503"/>
          </a:xfrm>
          <a:custGeom>
            <a:avLst/>
            <a:gdLst>
              <a:gd name="T0" fmla="*/ 329 w 475"/>
              <a:gd name="T1" fmla="*/ 0 h 354"/>
              <a:gd name="T2" fmla="*/ 160 w 475"/>
              <a:gd name="T3" fmla="*/ 0 h 354"/>
              <a:gd name="T4" fmla="*/ 0 w 475"/>
              <a:gd name="T5" fmla="*/ 177 h 354"/>
              <a:gd name="T6" fmla="*/ 160 w 475"/>
              <a:gd name="T7" fmla="*/ 354 h 354"/>
              <a:gd name="T8" fmla="*/ 160 w 475"/>
              <a:gd name="T9" fmla="*/ 292 h 354"/>
              <a:gd name="T10" fmla="*/ 329 w 475"/>
              <a:gd name="T11" fmla="*/ 292 h 354"/>
              <a:gd name="T12" fmla="*/ 475 w 475"/>
              <a:gd name="T13" fmla="*/ 146 h 354"/>
              <a:gd name="T14" fmla="*/ 475 w 475"/>
              <a:gd name="T15" fmla="*/ 146 h 354"/>
              <a:gd name="T16" fmla="*/ 329 w 475"/>
              <a:gd name="T17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5" h="354">
                <a:moveTo>
                  <a:pt x="329" y="0"/>
                </a:moveTo>
                <a:cubicBezTo>
                  <a:pt x="160" y="0"/>
                  <a:pt x="160" y="0"/>
                  <a:pt x="160" y="0"/>
                </a:cubicBezTo>
                <a:cubicBezTo>
                  <a:pt x="71" y="0"/>
                  <a:pt x="0" y="79"/>
                  <a:pt x="0" y="177"/>
                </a:cubicBezTo>
                <a:cubicBezTo>
                  <a:pt x="0" y="275"/>
                  <a:pt x="71" y="354"/>
                  <a:pt x="160" y="354"/>
                </a:cubicBezTo>
                <a:cubicBezTo>
                  <a:pt x="160" y="292"/>
                  <a:pt x="160" y="292"/>
                  <a:pt x="160" y="292"/>
                </a:cubicBezTo>
                <a:cubicBezTo>
                  <a:pt x="329" y="292"/>
                  <a:pt x="329" y="292"/>
                  <a:pt x="329" y="292"/>
                </a:cubicBezTo>
                <a:cubicBezTo>
                  <a:pt x="410" y="292"/>
                  <a:pt x="475" y="226"/>
                  <a:pt x="475" y="146"/>
                </a:cubicBezTo>
                <a:cubicBezTo>
                  <a:pt x="475" y="146"/>
                  <a:pt x="475" y="146"/>
                  <a:pt x="475" y="146"/>
                </a:cubicBezTo>
                <a:cubicBezTo>
                  <a:pt x="475" y="65"/>
                  <a:pt x="410" y="0"/>
                  <a:pt x="329" y="0"/>
                </a:cubicBezTo>
                <a:close/>
              </a:path>
            </a:pathLst>
          </a:custGeom>
          <a:solidFill>
            <a:srgbClr val="644C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324000" tIns="0" rIns="72000" bIns="144000" numCol="1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6000"/>
              </a:lnSpc>
            </a:pPr>
            <a:r>
              <a:rPr lang="en-GB" sz="1000" b="1" dirty="0">
                <a:solidFill>
                  <a:schemeClr val="bg1"/>
                </a:solidFill>
              </a:rPr>
              <a:t>Click to add text</a:t>
            </a:r>
          </a:p>
        </p:txBody>
      </p:sp>
      <p:sp>
        <p:nvSpPr>
          <p:cNvPr id="35" name="Call out 4 [Sticker]" hidden="1">
            <a:extLst>
              <a:ext uri="{FF2B5EF4-FFF2-40B4-BE49-F238E27FC236}">
                <a16:creationId xmlns:a16="http://schemas.microsoft.com/office/drawing/2014/main" id="{79ECB79A-60F9-4A61-AC9F-6FA204806232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2449329" cy="1592629"/>
          </a:xfrm>
          <a:custGeom>
            <a:avLst/>
            <a:gdLst>
              <a:gd name="T0" fmla="*/ 329 w 475"/>
              <a:gd name="T1" fmla="*/ 0 h 354"/>
              <a:gd name="T2" fmla="*/ 160 w 475"/>
              <a:gd name="T3" fmla="*/ 0 h 354"/>
              <a:gd name="T4" fmla="*/ 0 w 475"/>
              <a:gd name="T5" fmla="*/ 177 h 354"/>
              <a:gd name="T6" fmla="*/ 160 w 475"/>
              <a:gd name="T7" fmla="*/ 354 h 354"/>
              <a:gd name="T8" fmla="*/ 160 w 475"/>
              <a:gd name="T9" fmla="*/ 292 h 354"/>
              <a:gd name="T10" fmla="*/ 329 w 475"/>
              <a:gd name="T11" fmla="*/ 292 h 354"/>
              <a:gd name="T12" fmla="*/ 475 w 475"/>
              <a:gd name="T13" fmla="*/ 146 h 354"/>
              <a:gd name="T14" fmla="*/ 475 w 475"/>
              <a:gd name="T15" fmla="*/ 146 h 354"/>
              <a:gd name="T16" fmla="*/ 329 w 475"/>
              <a:gd name="T17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5" h="354">
                <a:moveTo>
                  <a:pt x="329" y="0"/>
                </a:moveTo>
                <a:cubicBezTo>
                  <a:pt x="160" y="0"/>
                  <a:pt x="160" y="0"/>
                  <a:pt x="160" y="0"/>
                </a:cubicBezTo>
                <a:cubicBezTo>
                  <a:pt x="71" y="0"/>
                  <a:pt x="0" y="79"/>
                  <a:pt x="0" y="177"/>
                </a:cubicBezTo>
                <a:cubicBezTo>
                  <a:pt x="0" y="275"/>
                  <a:pt x="71" y="354"/>
                  <a:pt x="160" y="354"/>
                </a:cubicBezTo>
                <a:cubicBezTo>
                  <a:pt x="160" y="292"/>
                  <a:pt x="160" y="292"/>
                  <a:pt x="160" y="292"/>
                </a:cubicBezTo>
                <a:cubicBezTo>
                  <a:pt x="329" y="292"/>
                  <a:pt x="329" y="292"/>
                  <a:pt x="329" y="292"/>
                </a:cubicBezTo>
                <a:cubicBezTo>
                  <a:pt x="410" y="292"/>
                  <a:pt x="475" y="226"/>
                  <a:pt x="475" y="146"/>
                </a:cubicBezTo>
                <a:cubicBezTo>
                  <a:pt x="475" y="146"/>
                  <a:pt x="475" y="146"/>
                  <a:pt x="475" y="146"/>
                </a:cubicBezTo>
                <a:cubicBezTo>
                  <a:pt x="475" y="65"/>
                  <a:pt x="410" y="0"/>
                  <a:pt x="329" y="0"/>
                </a:cubicBezTo>
                <a:close/>
              </a:path>
            </a:pathLst>
          </a:custGeom>
          <a:solidFill>
            <a:srgbClr val="644C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32000" tIns="0" rIns="72000" bIns="144000" numCol="1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6000"/>
              </a:lnSpc>
            </a:pPr>
            <a:r>
              <a:rPr lang="en-GB" sz="1000" b="1" dirty="0">
                <a:solidFill>
                  <a:schemeClr val="bg1"/>
                </a:solidFill>
              </a:rPr>
              <a:t>Click to add text</a:t>
            </a:r>
          </a:p>
        </p:txBody>
      </p:sp>
      <p:sp>
        <p:nvSpPr>
          <p:cNvPr id="36" name="Call out 5 [Sticker]" hidden="1">
            <a:extLst>
              <a:ext uri="{FF2B5EF4-FFF2-40B4-BE49-F238E27FC236}">
                <a16:creationId xmlns:a16="http://schemas.microsoft.com/office/drawing/2014/main" id="{EA30F7B7-8A62-4C5C-ABE3-57A7E8C4269E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4510861" cy="1440206"/>
          </a:xfrm>
          <a:custGeom>
            <a:avLst/>
            <a:gdLst>
              <a:gd name="connsiteX0" fmla="*/ 1428011 w 1642145"/>
              <a:gd name="connsiteY0" fmla="*/ 0 h 524296"/>
              <a:gd name="connsiteX1" fmla="*/ 1642145 w 1642145"/>
              <a:gd name="connsiteY1" fmla="*/ 215977 h 524296"/>
              <a:gd name="connsiteX2" fmla="*/ 1471167 w 1642145"/>
              <a:gd name="connsiteY2" fmla="*/ 427566 h 524296"/>
              <a:gd name="connsiteX3" fmla="*/ 1428657 w 1642145"/>
              <a:gd name="connsiteY3" fmla="*/ 431889 h 524296"/>
              <a:gd name="connsiteX4" fmla="*/ 1428657 w 1642145"/>
              <a:gd name="connsiteY4" fmla="*/ 431955 h 524296"/>
              <a:gd name="connsiteX5" fmla="*/ 492663 w 1642145"/>
              <a:gd name="connsiteY5" fmla="*/ 431955 h 524296"/>
              <a:gd name="connsiteX6" fmla="*/ 487573 w 1642145"/>
              <a:gd name="connsiteY6" fmla="*/ 432471 h 524296"/>
              <a:gd name="connsiteX7" fmla="*/ 237118 w 1642145"/>
              <a:gd name="connsiteY7" fmla="*/ 432471 h 524296"/>
              <a:gd name="connsiteX8" fmla="*/ 237118 w 1642145"/>
              <a:gd name="connsiteY8" fmla="*/ 524296 h 524296"/>
              <a:gd name="connsiteX9" fmla="*/ 0 w 1642145"/>
              <a:gd name="connsiteY9" fmla="*/ 262149 h 524296"/>
              <a:gd name="connsiteX10" fmla="*/ 237118 w 1642145"/>
              <a:gd name="connsiteY10" fmla="*/ 1 h 524296"/>
              <a:gd name="connsiteX11" fmla="*/ 487573 w 1642145"/>
              <a:gd name="connsiteY11" fmla="*/ 1 h 524296"/>
              <a:gd name="connsiteX12" fmla="*/ 493340 w 1642145"/>
              <a:gd name="connsiteY12" fmla="*/ 577 h 524296"/>
              <a:gd name="connsiteX13" fmla="*/ 1422336 w 1642145"/>
              <a:gd name="connsiteY13" fmla="*/ 577 h 524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642145" h="524296">
                <a:moveTo>
                  <a:pt x="1428011" y="0"/>
                </a:moveTo>
                <a:cubicBezTo>
                  <a:pt x="1546274" y="0"/>
                  <a:pt x="1642145" y="96696"/>
                  <a:pt x="1642145" y="215977"/>
                </a:cubicBezTo>
                <a:cubicBezTo>
                  <a:pt x="1642145" y="320348"/>
                  <a:pt x="1568744" y="407427"/>
                  <a:pt x="1471167" y="427566"/>
                </a:cubicBezTo>
                <a:lnTo>
                  <a:pt x="1428657" y="431889"/>
                </a:lnTo>
                <a:lnTo>
                  <a:pt x="1428657" y="431955"/>
                </a:lnTo>
                <a:lnTo>
                  <a:pt x="492663" y="431955"/>
                </a:lnTo>
                <a:lnTo>
                  <a:pt x="487573" y="432471"/>
                </a:lnTo>
                <a:cubicBezTo>
                  <a:pt x="487573" y="432471"/>
                  <a:pt x="487573" y="432471"/>
                  <a:pt x="237118" y="432471"/>
                </a:cubicBezTo>
                <a:cubicBezTo>
                  <a:pt x="237118" y="432471"/>
                  <a:pt x="237118" y="432471"/>
                  <a:pt x="237118" y="524296"/>
                </a:cubicBezTo>
                <a:cubicBezTo>
                  <a:pt x="105221" y="524296"/>
                  <a:pt x="0" y="407293"/>
                  <a:pt x="0" y="262149"/>
                </a:cubicBezTo>
                <a:cubicBezTo>
                  <a:pt x="0" y="117005"/>
                  <a:pt x="105221" y="1"/>
                  <a:pt x="237118" y="1"/>
                </a:cubicBezTo>
                <a:cubicBezTo>
                  <a:pt x="237118" y="1"/>
                  <a:pt x="237118" y="1"/>
                  <a:pt x="487573" y="1"/>
                </a:cubicBezTo>
                <a:lnTo>
                  <a:pt x="493340" y="577"/>
                </a:lnTo>
                <a:lnTo>
                  <a:pt x="1422336" y="577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72000" tIns="72000" rIns="72000" bIns="360000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22048" rtl="0" eaLnBrk="1" fontAlgn="auto" latinLnBrk="0" hangingPunct="1">
              <a:lnSpc>
                <a:spcPct val="9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Click to add text</a:t>
            </a:r>
          </a:p>
        </p:txBody>
      </p:sp>
      <p:sp>
        <p:nvSpPr>
          <p:cNvPr id="37" name="Comment box [Sticker]" hidden="1">
            <a:extLst>
              <a:ext uri="{FF2B5EF4-FFF2-40B4-BE49-F238E27FC236}">
                <a16:creationId xmlns:a16="http://schemas.microsoft.com/office/drawing/2014/main" id="{E2D24638-2C59-445A-A356-D83768687C04}"/>
              </a:ext>
            </a:extLst>
          </p:cNvPr>
          <p:cNvSpPr/>
          <p:nvPr userDrawn="1"/>
        </p:nvSpPr>
        <p:spPr>
          <a:xfrm>
            <a:off x="9214671" y="-30083"/>
            <a:ext cx="1687256" cy="576000"/>
          </a:xfrm>
          <a:prstGeom prst="roundRect">
            <a:avLst>
              <a:gd name="adj" fmla="val 0"/>
            </a:avLst>
          </a:prstGeom>
          <a:solidFill>
            <a:srgbClr val="FDD779">
              <a:alpha val="90000"/>
            </a:srgbClr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GB" sz="1000" dirty="0">
                <a:solidFill>
                  <a:srgbClr val="FF0000"/>
                </a:solidFill>
              </a:rPr>
              <a:t>Comment box</a:t>
            </a:r>
            <a:endParaRPr lang="en-GB" sz="1000" noProof="0" dirty="0">
              <a:solidFill>
                <a:srgbClr val="FF0000"/>
              </a:solidFill>
            </a:endParaRPr>
          </a:p>
        </p:txBody>
      </p:sp>
      <p:sp>
        <p:nvSpPr>
          <p:cNvPr id="38" name="Preliminary [Sticker]" hidden="1">
            <a:extLst>
              <a:ext uri="{FF2B5EF4-FFF2-40B4-BE49-F238E27FC236}">
                <a16:creationId xmlns:a16="http://schemas.microsoft.com/office/drawing/2014/main" id="{E5C38300-1B57-4EFA-A738-56C162EEB378}"/>
              </a:ext>
            </a:extLst>
          </p:cNvPr>
          <p:cNvSpPr/>
          <p:nvPr userDrawn="1"/>
        </p:nvSpPr>
        <p:spPr>
          <a:xfrm>
            <a:off x="9214671" y="-30083"/>
            <a:ext cx="1433705" cy="27000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GB" sz="1000" dirty="0">
                <a:solidFill>
                  <a:schemeClr val="bg1"/>
                </a:solidFill>
              </a:rPr>
              <a:t>Preliminary</a:t>
            </a:r>
            <a:endParaRPr lang="en-GB" sz="1000" noProof="0" dirty="0">
              <a:solidFill>
                <a:schemeClr val="bg1"/>
              </a:solidFill>
            </a:endParaRPr>
          </a:p>
        </p:txBody>
      </p:sp>
      <p:sp>
        <p:nvSpPr>
          <p:cNvPr id="39" name="For discussion [Sticker]" hidden="1">
            <a:extLst>
              <a:ext uri="{FF2B5EF4-FFF2-40B4-BE49-F238E27FC236}">
                <a16:creationId xmlns:a16="http://schemas.microsoft.com/office/drawing/2014/main" id="{ACC6C9F8-91DF-4DB0-8B38-437B2CABBB16}"/>
              </a:ext>
            </a:extLst>
          </p:cNvPr>
          <p:cNvSpPr/>
          <p:nvPr userDrawn="1"/>
        </p:nvSpPr>
        <p:spPr>
          <a:xfrm>
            <a:off x="9214671" y="-30083"/>
            <a:ext cx="1433705" cy="270000"/>
          </a:xfrm>
          <a:prstGeom prst="roundRect">
            <a:avLst>
              <a:gd name="adj" fmla="val 0"/>
            </a:avLst>
          </a:prstGeom>
          <a:solidFill>
            <a:srgbClr val="E85757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GB" sz="1000" dirty="0">
                <a:solidFill>
                  <a:schemeClr val="bg1"/>
                </a:solidFill>
              </a:rPr>
              <a:t>For discussion</a:t>
            </a:r>
            <a:endParaRPr lang="en-GB" sz="1000" noProof="0" dirty="0">
              <a:solidFill>
                <a:schemeClr val="bg1"/>
              </a:solidFill>
            </a:endParaRPr>
          </a:p>
        </p:txBody>
      </p:sp>
      <p:sp>
        <p:nvSpPr>
          <p:cNvPr id="40" name="Illustrative [Sticker]" hidden="1">
            <a:extLst>
              <a:ext uri="{FF2B5EF4-FFF2-40B4-BE49-F238E27FC236}">
                <a16:creationId xmlns:a16="http://schemas.microsoft.com/office/drawing/2014/main" id="{08668850-F042-468B-9813-9A5B3CC938C5}"/>
              </a:ext>
            </a:extLst>
          </p:cNvPr>
          <p:cNvSpPr/>
          <p:nvPr userDrawn="1"/>
        </p:nvSpPr>
        <p:spPr>
          <a:xfrm>
            <a:off x="9214671" y="-30083"/>
            <a:ext cx="1433705" cy="270000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GB" sz="1000" dirty="0">
                <a:solidFill>
                  <a:schemeClr val="bg1"/>
                </a:solidFill>
              </a:rPr>
              <a:t>Illustrative</a:t>
            </a:r>
            <a:endParaRPr lang="en-GB" sz="1000" noProof="0" dirty="0">
              <a:solidFill>
                <a:schemeClr val="bg1"/>
              </a:solidFill>
            </a:endParaRPr>
          </a:p>
        </p:txBody>
      </p:sp>
      <p:sp>
        <p:nvSpPr>
          <p:cNvPr id="4" name="MSIPCMContentMarking" descr="{&quot;HashCode&quot;:-913944431,&quot;Placement&quot;:&quot;Header&quot;,&quot;Top&quot;:0.0,&quot;Left&quot;:640.5311,&quot;SlideWidth&quot;:720,&quot;SlideHeight&quot;:405}">
            <a:extLst>
              <a:ext uri="{FF2B5EF4-FFF2-40B4-BE49-F238E27FC236}">
                <a16:creationId xmlns:a16="http://schemas.microsoft.com/office/drawing/2014/main" id="{E8F2DDB0-1C53-40E6-9949-A6815ECF2C53}"/>
              </a:ext>
            </a:extLst>
          </p:cNvPr>
          <p:cNvSpPr txBox="1"/>
          <p:nvPr userDrawn="1"/>
        </p:nvSpPr>
        <p:spPr>
          <a:xfrm>
            <a:off x="8134745" y="0"/>
            <a:ext cx="1009255" cy="28640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lnSpc>
                <a:spcPct val="96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4099DA"/>
                </a:solidFill>
                <a:latin typeface="Arial Black" panose="020B0A04020102020204" pitchFamily="34" charset="0"/>
              </a:rPr>
              <a:t>INTERNAL</a:t>
            </a:r>
            <a:endParaRPr lang="en-GB" sz="1000" dirty="0">
              <a:solidFill>
                <a:srgbClr val="4099DA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767" r:id="rId2"/>
    <p:sldLayoutId id="2147483768" r:id="rId3"/>
    <p:sldLayoutId id="2147483769" r:id="rId4"/>
    <p:sldLayoutId id="2147483743" r:id="rId5"/>
    <p:sldLayoutId id="2147483744" r:id="rId6"/>
    <p:sldLayoutId id="2147483745" r:id="rId7"/>
    <p:sldLayoutId id="2147483746" r:id="rId8"/>
    <p:sldLayoutId id="2147483748" r:id="rId9"/>
    <p:sldLayoutId id="2147483747" r:id="rId10"/>
    <p:sldLayoutId id="2147483772" r:id="rId11"/>
    <p:sldLayoutId id="2147483766" r:id="rId12"/>
    <p:sldLayoutId id="2147483728" r:id="rId13"/>
    <p:sldLayoutId id="2147483731" r:id="rId14"/>
    <p:sldLayoutId id="2147483737" r:id="rId15"/>
    <p:sldLayoutId id="2147483739" r:id="rId16"/>
    <p:sldLayoutId id="2147483736" r:id="rId17"/>
    <p:sldLayoutId id="2147483750" r:id="rId18"/>
    <p:sldLayoutId id="2147483734" r:id="rId19"/>
    <p:sldLayoutId id="2147483735" r:id="rId20"/>
    <p:sldLayoutId id="2147483771" r:id="rId21"/>
    <p:sldLayoutId id="2147483727" r:id="rId22"/>
    <p:sldLayoutId id="2147483752" r:id="rId23"/>
    <p:sldLayoutId id="2147483753" r:id="rId24"/>
    <p:sldLayoutId id="2147483754" r:id="rId25"/>
    <p:sldLayoutId id="2147483755" r:id="rId26"/>
    <p:sldLayoutId id="2147483756" r:id="rId27"/>
    <p:sldLayoutId id="2147483757" r:id="rId28"/>
    <p:sldLayoutId id="2147483654" r:id="rId29"/>
    <p:sldLayoutId id="2147483655" r:id="rId30"/>
    <p:sldLayoutId id="2147483758" r:id="rId31"/>
    <p:sldLayoutId id="2147483759" r:id="rId32"/>
    <p:sldLayoutId id="2147483760" r:id="rId33"/>
    <p:sldLayoutId id="2147483761" r:id="rId34"/>
  </p:sldLayoutIdLst>
  <p:hf sldNum="0" hdr="0" ftr="0"/>
  <p:txStyles>
    <p:titleStyle>
      <a:lvl1pPr algn="l" defTabSz="685804" rtl="0" eaLnBrk="1" latinLnBrk="0" hangingPunct="1">
        <a:lnSpc>
          <a:spcPct val="95000"/>
        </a:lnSpc>
        <a:spcBef>
          <a:spcPct val="0"/>
        </a:spcBef>
        <a:buNone/>
        <a:defRPr sz="2000" b="1" i="0" kern="1200">
          <a:solidFill>
            <a:schemeClr val="accent1"/>
          </a:solidFill>
          <a:latin typeface="+mj-lt"/>
          <a:ea typeface="+mj-ea"/>
          <a:cs typeface="Arial" panose="020B0604020202020204" pitchFamily="34" charset="0"/>
          <a:sym typeface="Orsted Sans Office" panose="00000500000000000000" pitchFamily="2" charset="0"/>
        </a:defRPr>
      </a:lvl1pPr>
    </p:titleStyle>
    <p:bodyStyle>
      <a:lvl1pPr marL="216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b="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1pPr>
      <a:lvl2pPr marL="432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2pPr>
      <a:lvl3pPr marL="648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3pPr>
      <a:lvl4pPr marL="864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4pPr>
      <a:lvl5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5pPr>
      <a:lvl6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lang="en-GB" sz="1000" kern="1200" noProof="0" dirty="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6pPr>
      <a:lvl7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lang="en-GB" sz="1000" kern="1200" baseline="0" noProof="0" dirty="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7pPr>
      <a:lvl8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8pPr>
      <a:lvl9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3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4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7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9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11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13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16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18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2873" userDrawn="1">
          <p15:clr>
            <a:srgbClr val="F26B43"/>
          </p15:clr>
        </p15:guide>
        <p15:guide id="4" orient="horz" pos="3104" userDrawn="1">
          <p15:clr>
            <a:srgbClr val="F26B43"/>
          </p15:clr>
        </p15:guide>
        <p15:guide id="5" pos="272" userDrawn="1">
          <p15:clr>
            <a:srgbClr val="F26B43"/>
          </p15:clr>
        </p15:guide>
        <p15:guide id="7" orient="horz" pos="647" userDrawn="1">
          <p15:clr>
            <a:srgbClr val="F26B43"/>
          </p15:clr>
        </p15:guide>
        <p15:guide id="8" orient="horz" pos="2803" userDrawn="1">
          <p15:clr>
            <a:srgbClr val="F26B43"/>
          </p15:clr>
        </p15:guide>
        <p15:guide id="9" pos="5487" userDrawn="1">
          <p15:clr>
            <a:srgbClr val="F26B43"/>
          </p15:clr>
        </p15:guide>
        <p15:guide id="10" orient="horz" pos="158" userDrawn="1">
          <p15:clr>
            <a:srgbClr val="F26B43"/>
          </p15:clr>
        </p15:guide>
        <p15:guide id="11" orient="horz" pos="521" userDrawn="1">
          <p15:clr>
            <a:srgbClr val="F26B43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tags" Target="../tags/tag25.xml"/><Relationship Id="rId2" Type="http://schemas.openxmlformats.org/officeDocument/2006/relationships/slideLayout" Target="../slideLayouts/slideLayout2.xml"/></Relationships>
</file>

<file path=ppt/slides/_rels/slide10.xml.rels><?xml version='1.0' encoding='UTF-8' standalone='yes'?>
<Relationships xmlns="http://schemas.openxmlformats.org/package/2006/relationships"><Relationship Id="rId1" Type="http://schemas.openxmlformats.org/officeDocument/2006/relationships/tags" Target="../tags/tag34.xml"/><Relationship Id="rId2" Type="http://schemas.openxmlformats.org/officeDocument/2006/relationships/slideLayout" Target="../slideLayouts/slideLayout11.xml"/><Relationship Id="rId3" Type="http://schemas.openxmlformats.org/officeDocument/2006/relationships/image" Target="../media/image19.jpg"/></Relationships>
</file>

<file path=ppt/slides/_rels/slide11.xml.rels><?xml version='1.0' encoding='UTF-8' standalone='yes'?>
<Relationships xmlns="http://schemas.openxmlformats.org/package/2006/relationships"><Relationship Id="rId1" Type="http://schemas.openxmlformats.org/officeDocument/2006/relationships/tags" Target="../tags/tag35.xml"/><Relationship Id="rId2" Type="http://schemas.openxmlformats.org/officeDocument/2006/relationships/slideLayout" Target="../slideLayouts/slideLayout11.xml"/><Relationship Id="rId3" Type="http://schemas.openxmlformats.org/officeDocument/2006/relationships/image" Target="../media/image19.jpg"/></Relationships>
</file>

<file path=ppt/slides/_rels/slide12.xml.rels><?xml version='1.0' encoding='UTF-8' standalone='yes'?>
<Relationships xmlns="http://schemas.openxmlformats.org/package/2006/relationships"><Relationship Id="rId1" Type="http://schemas.openxmlformats.org/officeDocument/2006/relationships/tags" Target="../tags/tag36.xml"/><Relationship Id="rId2" Type="http://schemas.openxmlformats.org/officeDocument/2006/relationships/slideLayout" Target="../slideLayouts/slideLayout11.xml"/><Relationship Id="rId3" Type="http://schemas.openxmlformats.org/officeDocument/2006/relationships/image" Target="../media/image19.jpg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tags" Target="../tags/tag26.xml"/><Relationship Id="rId2" Type="http://schemas.openxmlformats.org/officeDocument/2006/relationships/slideLayout" Target="../slideLayouts/slideLayout11.xml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tags" Target="../tags/tag27.xml"/><Relationship Id="rId2" Type="http://schemas.openxmlformats.org/officeDocument/2006/relationships/slideLayout" Target="../slideLayouts/slideLayout11.xml"/><Relationship Id="rId3" Type="http://schemas.openxmlformats.org/officeDocument/2006/relationships/image" Target="../media/image19.jpg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tags" Target="../tags/tag28.xml"/><Relationship Id="rId2" Type="http://schemas.openxmlformats.org/officeDocument/2006/relationships/slideLayout" Target="../slideLayouts/slideLayout11.xml"/><Relationship Id="rId3" Type="http://schemas.openxmlformats.org/officeDocument/2006/relationships/image" Target="../media/image19.jpg"/></Relationships>
</file>

<file path=ppt/slides/_rels/slide5.xml.rels><?xml version='1.0' encoding='UTF-8' standalone='yes'?>
<Relationships xmlns="http://schemas.openxmlformats.org/package/2006/relationships"><Relationship Id="rId1" Type="http://schemas.openxmlformats.org/officeDocument/2006/relationships/tags" Target="../tags/tag29.xml"/><Relationship Id="rId2" Type="http://schemas.openxmlformats.org/officeDocument/2006/relationships/slideLayout" Target="../slideLayouts/slideLayout11.xml"/><Relationship Id="rId3" Type="http://schemas.openxmlformats.org/officeDocument/2006/relationships/image" Target="../media/image19.jpg"/></Relationships>
</file>

<file path=ppt/slides/_rels/slide6.xml.rels><?xml version='1.0' encoding='UTF-8' standalone='yes'?>
<Relationships xmlns="http://schemas.openxmlformats.org/package/2006/relationships"><Relationship Id="rId1" Type="http://schemas.openxmlformats.org/officeDocument/2006/relationships/tags" Target="../tags/tag30.xml"/><Relationship Id="rId2" Type="http://schemas.openxmlformats.org/officeDocument/2006/relationships/slideLayout" Target="../slideLayouts/slideLayout11.xml"/><Relationship Id="rId3" Type="http://schemas.openxmlformats.org/officeDocument/2006/relationships/image" Target="../media/image19.jpg"/></Relationships>
</file>

<file path=ppt/slides/_rels/slide7.xml.rels><?xml version='1.0' encoding='UTF-8' standalone='yes'?>
<Relationships xmlns="http://schemas.openxmlformats.org/package/2006/relationships"><Relationship Id="rId1" Type="http://schemas.openxmlformats.org/officeDocument/2006/relationships/tags" Target="../tags/tag31.xml"/><Relationship Id="rId2" Type="http://schemas.openxmlformats.org/officeDocument/2006/relationships/slideLayout" Target="../slideLayouts/slideLayout11.xml"/><Relationship Id="rId3" Type="http://schemas.openxmlformats.org/officeDocument/2006/relationships/image" Target="../media/image19.jpg"/></Relationships>
</file>

<file path=ppt/slides/_rels/slide8.xml.rels><?xml version='1.0' encoding='UTF-8' standalone='yes'?>
<Relationships xmlns="http://schemas.openxmlformats.org/package/2006/relationships"><Relationship Id="rId1" Type="http://schemas.openxmlformats.org/officeDocument/2006/relationships/tags" Target="../tags/tag32.xml"/><Relationship Id="rId2" Type="http://schemas.openxmlformats.org/officeDocument/2006/relationships/slideLayout" Target="../slideLayouts/slideLayout11.xml"/><Relationship Id="rId3" Type="http://schemas.openxmlformats.org/officeDocument/2006/relationships/image" Target="../media/image19.jpg"/></Relationships>
</file>

<file path=ppt/slides/_rels/slide9.xml.rels><?xml version='1.0' encoding='UTF-8' standalone='yes'?>
<Relationships xmlns="http://schemas.openxmlformats.org/package/2006/relationships"><Relationship Id="rId1" Type="http://schemas.openxmlformats.org/officeDocument/2006/relationships/tags" Target="../tags/tag33.xml"/><Relationship Id="rId2" Type="http://schemas.openxmlformats.org/officeDocument/2006/relationships/slideLayout" Target="../slideLayouts/slideLayout11.xml"/><Relationship Id="rId3" Type="http://schemas.openxmlformats.org/officeDocument/2006/relationships/image" Target="../media/image19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4246144F-B47F-4776-B702-44E5D019082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l-PL" dirty="0"/>
              <a:t>Team portfolio</a:t>
            </a:r>
            <a:endParaRPr lang="en-GB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336CE5B1-A935-4461-BDC8-98F51AA279B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pl-PL" dirty="0"/>
              <a:t>PL Software Engineering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41138-A68D-4DD9-A6F6-2EA9043A07B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173F1CF-EB3C-4027-8AD2-851F42F8646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32000" y="4766628"/>
            <a:ext cx="1684800" cy="158400"/>
          </a:xfrm>
        </p:spPr>
        <p:txBody>
          <a:bodyPr/>
          <a:lstStyle/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948764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 (5/7)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515257" y="2990170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515257" y="365049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15257" y="426197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" name="Picture 1" descr="Silhouette of a construction site">
            <a:extLst>
              <a:ext uri="{FF2B5EF4-FFF2-40B4-BE49-F238E27FC236}">
                <a16:creationId xmlns:a16="http://schemas.microsoft.com/office/drawing/2014/main" id="{1AA6439A-1294-97ED-FDCB-829739B1B1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8969" y="1027113"/>
            <a:ext cx="1645138" cy="109649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2977883-84CB-76EE-7016-47C0F27EF5A0}"/>
              </a:ext>
            </a:extLst>
          </p:cNvPr>
          <p:cNvSpPr/>
          <p:nvPr/>
        </p:nvSpPr>
        <p:spPr>
          <a:xfrm>
            <a:off x="3556907" y="244042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D5E82F-2D6B-5B9A-B1DE-2967DDA8446C}"/>
              </a:ext>
            </a:extLst>
          </p:cNvPr>
          <p:cNvSpPr/>
          <p:nvPr/>
        </p:nvSpPr>
        <p:spPr>
          <a:xfrm>
            <a:off x="3556907" y="3013965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DB7594E-7CB1-FEF9-D672-880B412A0A9B}"/>
              </a:ext>
            </a:extLst>
          </p:cNvPr>
          <p:cNvSpPr/>
          <p:nvPr/>
        </p:nvSpPr>
        <p:spPr>
          <a:xfrm>
            <a:off x="3556907" y="3674288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A66F19F-5C6E-A24E-8FA1-1F9E183BCD14}"/>
              </a:ext>
            </a:extLst>
          </p:cNvPr>
          <p:cNvSpPr/>
          <p:nvPr/>
        </p:nvSpPr>
        <p:spPr>
          <a:xfrm>
            <a:off x="3556907" y="428577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6" name="Picture 25" descr="Silhouette of a construction site">
            <a:extLst>
              <a:ext uri="{FF2B5EF4-FFF2-40B4-BE49-F238E27FC236}">
                <a16:creationId xmlns:a16="http://schemas.microsoft.com/office/drawing/2014/main" id="{10633AD2-5389-1ABA-8B27-8F4ACC2AEA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1205" y="1059402"/>
            <a:ext cx="1645138" cy="1096491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D2F7EDB6-3558-FEBB-B438-8B68F562EDF2}"/>
              </a:ext>
            </a:extLst>
          </p:cNvPr>
          <p:cNvSpPr/>
          <p:nvPr/>
        </p:nvSpPr>
        <p:spPr>
          <a:xfrm>
            <a:off x="6749143" y="247271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C622D5B-E1A2-CF4A-7E80-251C4C61DE99}"/>
              </a:ext>
            </a:extLst>
          </p:cNvPr>
          <p:cNvSpPr/>
          <p:nvPr/>
        </p:nvSpPr>
        <p:spPr>
          <a:xfrm>
            <a:off x="6749143" y="304625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E9B99B9-234D-08D6-9D3F-C2226DF3206F}"/>
              </a:ext>
            </a:extLst>
          </p:cNvPr>
          <p:cNvSpPr/>
          <p:nvPr/>
        </p:nvSpPr>
        <p:spPr>
          <a:xfrm>
            <a:off x="6749143" y="3706577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C9804B5-36CF-2E9F-2322-45E3F12FD283}"/>
              </a:ext>
            </a:extLst>
          </p:cNvPr>
          <p:cNvSpPr/>
          <p:nvPr/>
        </p:nvSpPr>
        <p:spPr>
          <a:xfrm>
            <a:off x="6749143" y="431806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730132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 (6/7)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515257" y="2990170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515257" y="365049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15257" y="426197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" name="Picture 1" descr="Silhouette of a construction site">
            <a:extLst>
              <a:ext uri="{FF2B5EF4-FFF2-40B4-BE49-F238E27FC236}">
                <a16:creationId xmlns:a16="http://schemas.microsoft.com/office/drawing/2014/main" id="{1AA6439A-1294-97ED-FDCB-829739B1B1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8969" y="1027113"/>
            <a:ext cx="1645138" cy="109649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2977883-84CB-76EE-7016-47C0F27EF5A0}"/>
              </a:ext>
            </a:extLst>
          </p:cNvPr>
          <p:cNvSpPr/>
          <p:nvPr/>
        </p:nvSpPr>
        <p:spPr>
          <a:xfrm>
            <a:off x="3556907" y="244042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D5E82F-2D6B-5B9A-B1DE-2967DDA8446C}"/>
              </a:ext>
            </a:extLst>
          </p:cNvPr>
          <p:cNvSpPr/>
          <p:nvPr/>
        </p:nvSpPr>
        <p:spPr>
          <a:xfrm>
            <a:off x="3556907" y="3013965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DB7594E-7CB1-FEF9-D672-880B412A0A9B}"/>
              </a:ext>
            </a:extLst>
          </p:cNvPr>
          <p:cNvSpPr/>
          <p:nvPr/>
        </p:nvSpPr>
        <p:spPr>
          <a:xfrm>
            <a:off x="3556907" y="3674288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A66F19F-5C6E-A24E-8FA1-1F9E183BCD14}"/>
              </a:ext>
            </a:extLst>
          </p:cNvPr>
          <p:cNvSpPr/>
          <p:nvPr/>
        </p:nvSpPr>
        <p:spPr>
          <a:xfrm>
            <a:off x="3556907" y="428577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6" name="Picture 25" descr="Silhouette of a construction site">
            <a:extLst>
              <a:ext uri="{FF2B5EF4-FFF2-40B4-BE49-F238E27FC236}">
                <a16:creationId xmlns:a16="http://schemas.microsoft.com/office/drawing/2014/main" id="{10633AD2-5389-1ABA-8B27-8F4ACC2AEA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1205" y="1059402"/>
            <a:ext cx="1645138" cy="1096491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D2F7EDB6-3558-FEBB-B438-8B68F562EDF2}"/>
              </a:ext>
            </a:extLst>
          </p:cNvPr>
          <p:cNvSpPr/>
          <p:nvPr/>
        </p:nvSpPr>
        <p:spPr>
          <a:xfrm>
            <a:off x="6749143" y="247271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C622D5B-E1A2-CF4A-7E80-251C4C61DE99}"/>
              </a:ext>
            </a:extLst>
          </p:cNvPr>
          <p:cNvSpPr/>
          <p:nvPr/>
        </p:nvSpPr>
        <p:spPr>
          <a:xfrm>
            <a:off x="6749143" y="304625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E9B99B9-234D-08D6-9D3F-C2226DF3206F}"/>
              </a:ext>
            </a:extLst>
          </p:cNvPr>
          <p:cNvSpPr/>
          <p:nvPr/>
        </p:nvSpPr>
        <p:spPr>
          <a:xfrm>
            <a:off x="6749143" y="3706577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C9804B5-36CF-2E9F-2322-45E3F12FD283}"/>
              </a:ext>
            </a:extLst>
          </p:cNvPr>
          <p:cNvSpPr/>
          <p:nvPr/>
        </p:nvSpPr>
        <p:spPr>
          <a:xfrm>
            <a:off x="6749143" y="431806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10409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 (7/7)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515257" y="2990170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515257" y="365049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15257" y="426197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" name="Picture 1" descr="Silhouette of a construction site">
            <a:extLst>
              <a:ext uri="{FF2B5EF4-FFF2-40B4-BE49-F238E27FC236}">
                <a16:creationId xmlns:a16="http://schemas.microsoft.com/office/drawing/2014/main" id="{1AA6439A-1294-97ED-FDCB-829739B1B1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8969" y="1027113"/>
            <a:ext cx="1645138" cy="109649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2977883-84CB-76EE-7016-47C0F27EF5A0}"/>
              </a:ext>
            </a:extLst>
          </p:cNvPr>
          <p:cNvSpPr/>
          <p:nvPr/>
        </p:nvSpPr>
        <p:spPr>
          <a:xfrm>
            <a:off x="3556907" y="244042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D5E82F-2D6B-5B9A-B1DE-2967DDA8446C}"/>
              </a:ext>
            </a:extLst>
          </p:cNvPr>
          <p:cNvSpPr/>
          <p:nvPr/>
        </p:nvSpPr>
        <p:spPr>
          <a:xfrm>
            <a:off x="3556907" y="3013965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DB7594E-7CB1-FEF9-D672-880B412A0A9B}"/>
              </a:ext>
            </a:extLst>
          </p:cNvPr>
          <p:cNvSpPr/>
          <p:nvPr/>
        </p:nvSpPr>
        <p:spPr>
          <a:xfrm>
            <a:off x="3556907" y="3674288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A66F19F-5C6E-A24E-8FA1-1F9E183BCD14}"/>
              </a:ext>
            </a:extLst>
          </p:cNvPr>
          <p:cNvSpPr/>
          <p:nvPr/>
        </p:nvSpPr>
        <p:spPr>
          <a:xfrm>
            <a:off x="3556907" y="428577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6" name="Picture 25" descr="Silhouette of a construction site">
            <a:extLst>
              <a:ext uri="{FF2B5EF4-FFF2-40B4-BE49-F238E27FC236}">
                <a16:creationId xmlns:a16="http://schemas.microsoft.com/office/drawing/2014/main" id="{10633AD2-5389-1ABA-8B27-8F4ACC2AEA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1205" y="1059402"/>
            <a:ext cx="1645138" cy="1096491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D2F7EDB6-3558-FEBB-B438-8B68F562EDF2}"/>
              </a:ext>
            </a:extLst>
          </p:cNvPr>
          <p:cNvSpPr/>
          <p:nvPr/>
        </p:nvSpPr>
        <p:spPr>
          <a:xfrm>
            <a:off x="6749143" y="247271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C622D5B-E1A2-CF4A-7E80-251C4C61DE99}"/>
              </a:ext>
            </a:extLst>
          </p:cNvPr>
          <p:cNvSpPr/>
          <p:nvPr/>
        </p:nvSpPr>
        <p:spPr>
          <a:xfrm>
            <a:off x="6749143" y="304625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E9B99B9-234D-08D6-9D3F-C2226DF3206F}"/>
              </a:ext>
            </a:extLst>
          </p:cNvPr>
          <p:cNvSpPr/>
          <p:nvPr/>
        </p:nvSpPr>
        <p:spPr>
          <a:xfrm>
            <a:off x="6749143" y="3706577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C9804B5-36CF-2E9F-2322-45E3F12FD283}"/>
              </a:ext>
            </a:extLst>
          </p:cNvPr>
          <p:cNvSpPr/>
          <p:nvPr/>
        </p:nvSpPr>
        <p:spPr>
          <a:xfrm>
            <a:off x="6749143" y="431806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735995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Main</a:t>
            </a:r>
            <a:r>
              <a:rPr lang="pl-PL" dirty="0"/>
              <a:t> </a:t>
            </a:r>
            <a:r>
              <a:rPr lang="pl-PL" dirty="0" err="1"/>
              <a:t>Competency</a:t>
            </a:r>
            <a:r>
              <a:rPr lang="pl-PL" dirty="0"/>
              <a:t> &amp; </a:t>
            </a:r>
            <a:r>
              <a:rPr lang="pl-PL" dirty="0" err="1"/>
              <a:t>Skills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FF9C739-C60B-948D-5E18-5BE5FAAAC70A}"/>
              </a:ext>
            </a:extLst>
          </p:cNvPr>
          <p:cNvSpPr/>
          <p:nvPr/>
        </p:nvSpPr>
        <p:spPr>
          <a:xfrm>
            <a:off x="432000" y="828000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Education</a:t>
            </a:r>
            <a:endParaRPr lang="pl-PL" sz="1300" noProof="0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F51B62C-1E5E-D78A-21DD-EF6A4E16181E}"/>
              </a:ext>
            </a:extLst>
          </p:cNvPr>
          <p:cNvSpPr/>
          <p:nvPr/>
        </p:nvSpPr>
        <p:spPr>
          <a:xfrm>
            <a:off x="2521150" y="827088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Experience</a:t>
            </a:r>
            <a:endParaRPr lang="pl-PL" sz="1300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C1BC5FF-39E9-AF33-4F02-3283E04C6493}"/>
              </a:ext>
            </a:extLst>
          </p:cNvPr>
          <p:cNvSpPr/>
          <p:nvPr/>
        </p:nvSpPr>
        <p:spPr>
          <a:xfrm>
            <a:off x="4717806" y="827088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4AEB43D-2797-6134-B432-BBD5C71802A7}"/>
              </a:ext>
            </a:extLst>
          </p:cNvPr>
          <p:cNvSpPr/>
          <p:nvPr/>
        </p:nvSpPr>
        <p:spPr>
          <a:xfrm>
            <a:off x="6913075" y="827087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Area</a:t>
            </a:r>
            <a:r>
              <a:rPr lang="pl-PL" sz="1300" dirty="0"/>
              <a:t> of </a:t>
            </a:r>
            <a:r>
              <a:rPr lang="pl-PL" sz="1300" dirty="0" err="1"/>
              <a:t>interest</a:t>
            </a:r>
            <a:endParaRPr lang="pl-PL" sz="1300" noProof="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7A80285-C40E-E96F-51A1-8D689D52790E}"/>
              </a:ext>
            </a:extLst>
          </p:cNvPr>
          <p:cNvSpPr/>
          <p:nvPr/>
        </p:nvSpPr>
        <p:spPr>
          <a:xfrm>
            <a:off x="431800" y="1530534"/>
            <a:ext cx="1797538" cy="278496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1D8988C-ADEE-3839-A5C7-4EAE91C3C671}"/>
              </a:ext>
            </a:extLst>
          </p:cNvPr>
          <p:cNvSpPr/>
          <p:nvPr/>
        </p:nvSpPr>
        <p:spPr>
          <a:xfrm>
            <a:off x="2520950" y="1529622"/>
            <a:ext cx="1797538" cy="278496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DD9BD14-79CB-7FA2-4B96-5455AEC0F607}"/>
              </a:ext>
            </a:extLst>
          </p:cNvPr>
          <p:cNvSpPr/>
          <p:nvPr/>
        </p:nvSpPr>
        <p:spPr>
          <a:xfrm>
            <a:off x="4717606" y="1529622"/>
            <a:ext cx="1797538" cy="278496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F458282-D2D2-B200-092E-7828648B5BA3}"/>
              </a:ext>
            </a:extLst>
          </p:cNvPr>
          <p:cNvSpPr/>
          <p:nvPr/>
        </p:nvSpPr>
        <p:spPr>
          <a:xfrm>
            <a:off x="6912875" y="1529621"/>
            <a:ext cx="1797538" cy="278496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401679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9" name="Picture 8" descr="Silhouette of a construction site">
            <a:extLst>
              <a:ext uri="{FF2B5EF4-FFF2-40B4-BE49-F238E27FC236}">
                <a16:creationId xmlns:a16="http://schemas.microsoft.com/office/drawing/2014/main" id="{91314FFE-0E55-3C72-EC30-A95CCF30ED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7205" y="1003318"/>
            <a:ext cx="1645138" cy="109649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2685143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1" name="Picture 10" descr="Silhouette of a construction site">
            <a:extLst>
              <a:ext uri="{FF2B5EF4-FFF2-40B4-BE49-F238E27FC236}">
                <a16:creationId xmlns:a16="http://schemas.microsoft.com/office/drawing/2014/main" id="{7C332DD7-093B-4870-B410-A185BEB643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7091" y="1003318"/>
            <a:ext cx="1645138" cy="109649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4855029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3" name="Picture 12" descr="Silhouette of a construction site">
            <a:extLst>
              <a:ext uri="{FF2B5EF4-FFF2-40B4-BE49-F238E27FC236}">
                <a16:creationId xmlns:a16="http://schemas.microsoft.com/office/drawing/2014/main" id="{D29807D4-FBA9-4FDD-F704-4F1C4892D6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3605" y="1003318"/>
            <a:ext cx="1645138" cy="109649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092A13B4-2148-ADC1-1088-4537B0EA1AEB}"/>
              </a:ext>
            </a:extLst>
          </p:cNvPr>
          <p:cNvSpPr/>
          <p:nvPr/>
        </p:nvSpPr>
        <p:spPr>
          <a:xfrm>
            <a:off x="6901543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5" name="Picture 14" descr="Silhouette of a construction site">
            <a:extLst>
              <a:ext uri="{FF2B5EF4-FFF2-40B4-BE49-F238E27FC236}">
                <a16:creationId xmlns:a16="http://schemas.microsoft.com/office/drawing/2014/main" id="{E3794A7C-67F3-AA37-DCE9-91E8AF4830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657" y="2990170"/>
            <a:ext cx="1645138" cy="1096491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85595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7" name="Picture 16" descr="Silhouette of a construction site">
            <a:extLst>
              <a:ext uri="{FF2B5EF4-FFF2-40B4-BE49-F238E27FC236}">
                <a16:creationId xmlns:a16="http://schemas.microsoft.com/office/drawing/2014/main" id="{58A33CF5-2E63-F9DA-8E2B-1CEA61EB280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7543" y="2990170"/>
            <a:ext cx="1645138" cy="1096491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F84D078C-0BD4-D05A-A857-1109FCB467C4}"/>
              </a:ext>
            </a:extLst>
          </p:cNvPr>
          <p:cNvSpPr/>
          <p:nvPr/>
        </p:nvSpPr>
        <p:spPr>
          <a:xfrm>
            <a:off x="2755481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9" name="Picture 18" descr="Silhouette of a construction site">
            <a:extLst>
              <a:ext uri="{FF2B5EF4-FFF2-40B4-BE49-F238E27FC236}">
                <a16:creationId xmlns:a16="http://schemas.microsoft.com/office/drawing/2014/main" id="{14478683-921A-CBB3-9AAB-ADD9AF6CA5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7429" y="2990170"/>
            <a:ext cx="1645138" cy="1096491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F9B7AC35-BE5B-25D3-83AC-948276570908}"/>
              </a:ext>
            </a:extLst>
          </p:cNvPr>
          <p:cNvSpPr/>
          <p:nvPr/>
        </p:nvSpPr>
        <p:spPr>
          <a:xfrm>
            <a:off x="4925367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21" name="Picture 20" descr="Silhouette of a construction site">
            <a:extLst>
              <a:ext uri="{FF2B5EF4-FFF2-40B4-BE49-F238E27FC236}">
                <a16:creationId xmlns:a16="http://schemas.microsoft.com/office/drawing/2014/main" id="{D3E8E318-8F94-2728-85B1-0B9E9D49B7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3943" y="2990170"/>
            <a:ext cx="1645138" cy="1096491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76A60F35-5452-61E9-9305-DBEE7D4CB2CA}"/>
              </a:ext>
            </a:extLst>
          </p:cNvPr>
          <p:cNvSpPr/>
          <p:nvPr/>
        </p:nvSpPr>
        <p:spPr>
          <a:xfrm>
            <a:off x="6971881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319874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9" name="Picture 8" descr="Silhouette of a construction site">
            <a:extLst>
              <a:ext uri="{FF2B5EF4-FFF2-40B4-BE49-F238E27FC236}">
                <a16:creationId xmlns:a16="http://schemas.microsoft.com/office/drawing/2014/main" id="{91314FFE-0E55-3C72-EC30-A95CCF30ED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7205" y="1003318"/>
            <a:ext cx="1645138" cy="109649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2685143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1" name="Picture 10" descr="Silhouette of a construction site">
            <a:extLst>
              <a:ext uri="{FF2B5EF4-FFF2-40B4-BE49-F238E27FC236}">
                <a16:creationId xmlns:a16="http://schemas.microsoft.com/office/drawing/2014/main" id="{7C332DD7-093B-4870-B410-A185BEB643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7091" y="1003318"/>
            <a:ext cx="1645138" cy="109649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4855029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3" name="Picture 12" descr="Silhouette of a construction site">
            <a:extLst>
              <a:ext uri="{FF2B5EF4-FFF2-40B4-BE49-F238E27FC236}">
                <a16:creationId xmlns:a16="http://schemas.microsoft.com/office/drawing/2014/main" id="{D29807D4-FBA9-4FDD-F704-4F1C4892D6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3605" y="1003318"/>
            <a:ext cx="1645138" cy="109649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092A13B4-2148-ADC1-1088-4537B0EA1AEB}"/>
              </a:ext>
            </a:extLst>
          </p:cNvPr>
          <p:cNvSpPr/>
          <p:nvPr/>
        </p:nvSpPr>
        <p:spPr>
          <a:xfrm>
            <a:off x="6901543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5" name="Picture 14" descr="Silhouette of a construction site">
            <a:extLst>
              <a:ext uri="{FF2B5EF4-FFF2-40B4-BE49-F238E27FC236}">
                <a16:creationId xmlns:a16="http://schemas.microsoft.com/office/drawing/2014/main" id="{E3794A7C-67F3-AA37-DCE9-91E8AF4830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657" y="2990170"/>
            <a:ext cx="1645138" cy="1096491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85595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7" name="Picture 16" descr="Silhouette of a construction site">
            <a:extLst>
              <a:ext uri="{FF2B5EF4-FFF2-40B4-BE49-F238E27FC236}">
                <a16:creationId xmlns:a16="http://schemas.microsoft.com/office/drawing/2014/main" id="{58A33CF5-2E63-F9DA-8E2B-1CEA61EB280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7543" y="2990170"/>
            <a:ext cx="1645138" cy="1096491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F84D078C-0BD4-D05A-A857-1109FCB467C4}"/>
              </a:ext>
            </a:extLst>
          </p:cNvPr>
          <p:cNvSpPr/>
          <p:nvPr/>
        </p:nvSpPr>
        <p:spPr>
          <a:xfrm>
            <a:off x="2755481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9" name="Picture 18" descr="Silhouette of a construction site">
            <a:extLst>
              <a:ext uri="{FF2B5EF4-FFF2-40B4-BE49-F238E27FC236}">
                <a16:creationId xmlns:a16="http://schemas.microsoft.com/office/drawing/2014/main" id="{14478683-921A-CBB3-9AAB-ADD9AF6CA5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7429" y="2990170"/>
            <a:ext cx="1645138" cy="1096491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F9B7AC35-BE5B-25D3-83AC-948276570908}"/>
              </a:ext>
            </a:extLst>
          </p:cNvPr>
          <p:cNvSpPr/>
          <p:nvPr/>
        </p:nvSpPr>
        <p:spPr>
          <a:xfrm>
            <a:off x="4925367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21" name="Picture 20" descr="Silhouette of a construction site">
            <a:extLst>
              <a:ext uri="{FF2B5EF4-FFF2-40B4-BE49-F238E27FC236}">
                <a16:creationId xmlns:a16="http://schemas.microsoft.com/office/drawing/2014/main" id="{D3E8E318-8F94-2728-85B1-0B9E9D49B7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3943" y="2990170"/>
            <a:ext cx="1645138" cy="1096491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76A60F35-5452-61E9-9305-DBEE7D4CB2CA}"/>
              </a:ext>
            </a:extLst>
          </p:cNvPr>
          <p:cNvSpPr/>
          <p:nvPr/>
        </p:nvSpPr>
        <p:spPr>
          <a:xfrm>
            <a:off x="6971881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53200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9" name="Picture 8" descr="Silhouette of a construction site">
            <a:extLst>
              <a:ext uri="{FF2B5EF4-FFF2-40B4-BE49-F238E27FC236}">
                <a16:creationId xmlns:a16="http://schemas.microsoft.com/office/drawing/2014/main" id="{91314FFE-0E55-3C72-EC30-A95CCF30ED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7205" y="1003318"/>
            <a:ext cx="1645138" cy="109649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2685143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1" name="Picture 10" descr="Silhouette of a construction site">
            <a:extLst>
              <a:ext uri="{FF2B5EF4-FFF2-40B4-BE49-F238E27FC236}">
                <a16:creationId xmlns:a16="http://schemas.microsoft.com/office/drawing/2014/main" id="{7C332DD7-093B-4870-B410-A185BEB643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7091" y="1003318"/>
            <a:ext cx="1645138" cy="109649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4855029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3" name="Picture 12" descr="Silhouette of a construction site">
            <a:extLst>
              <a:ext uri="{FF2B5EF4-FFF2-40B4-BE49-F238E27FC236}">
                <a16:creationId xmlns:a16="http://schemas.microsoft.com/office/drawing/2014/main" id="{D29807D4-FBA9-4FDD-F704-4F1C4892D6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3605" y="1003318"/>
            <a:ext cx="1645138" cy="109649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092A13B4-2148-ADC1-1088-4537B0EA1AEB}"/>
              </a:ext>
            </a:extLst>
          </p:cNvPr>
          <p:cNvSpPr/>
          <p:nvPr/>
        </p:nvSpPr>
        <p:spPr>
          <a:xfrm>
            <a:off x="6901543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5" name="Picture 14" descr="Silhouette of a construction site">
            <a:extLst>
              <a:ext uri="{FF2B5EF4-FFF2-40B4-BE49-F238E27FC236}">
                <a16:creationId xmlns:a16="http://schemas.microsoft.com/office/drawing/2014/main" id="{E3794A7C-67F3-AA37-DCE9-91E8AF4830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657" y="2990170"/>
            <a:ext cx="1645138" cy="1096491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85595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7" name="Picture 16" descr="Silhouette of a construction site">
            <a:extLst>
              <a:ext uri="{FF2B5EF4-FFF2-40B4-BE49-F238E27FC236}">
                <a16:creationId xmlns:a16="http://schemas.microsoft.com/office/drawing/2014/main" id="{58A33CF5-2E63-F9DA-8E2B-1CEA61EB280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7543" y="2990170"/>
            <a:ext cx="1645138" cy="1096491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F84D078C-0BD4-D05A-A857-1109FCB467C4}"/>
              </a:ext>
            </a:extLst>
          </p:cNvPr>
          <p:cNvSpPr/>
          <p:nvPr/>
        </p:nvSpPr>
        <p:spPr>
          <a:xfrm>
            <a:off x="2755481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9" name="Picture 18" descr="Silhouette of a construction site">
            <a:extLst>
              <a:ext uri="{FF2B5EF4-FFF2-40B4-BE49-F238E27FC236}">
                <a16:creationId xmlns:a16="http://schemas.microsoft.com/office/drawing/2014/main" id="{14478683-921A-CBB3-9AAB-ADD9AF6CA5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7429" y="2990170"/>
            <a:ext cx="1645138" cy="1096491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F9B7AC35-BE5B-25D3-83AC-948276570908}"/>
              </a:ext>
            </a:extLst>
          </p:cNvPr>
          <p:cNvSpPr/>
          <p:nvPr/>
        </p:nvSpPr>
        <p:spPr>
          <a:xfrm>
            <a:off x="4925367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21" name="Picture 20" descr="Silhouette of a construction site">
            <a:extLst>
              <a:ext uri="{FF2B5EF4-FFF2-40B4-BE49-F238E27FC236}">
                <a16:creationId xmlns:a16="http://schemas.microsoft.com/office/drawing/2014/main" id="{D3E8E318-8F94-2728-85B1-0B9E9D49B7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3943" y="2990170"/>
            <a:ext cx="1645138" cy="1096491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76A60F35-5452-61E9-9305-DBEE7D4CB2CA}"/>
              </a:ext>
            </a:extLst>
          </p:cNvPr>
          <p:cNvSpPr/>
          <p:nvPr/>
        </p:nvSpPr>
        <p:spPr>
          <a:xfrm>
            <a:off x="6971881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275684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 (1/7)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367757"/>
            <a:ext cx="1879600" cy="305594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t>1111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515256" y="2740223"/>
            <a:ext cx="1879601" cy="33716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t>1111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515255" y="3142326"/>
            <a:ext cx="1879599" cy="224204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t>1111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2865200" y="2311811"/>
            <a:ext cx="1879600" cy="1054718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t>1111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59FF536-C742-9F1A-4110-A6D4349AE9B4}"/>
              </a:ext>
            </a:extLst>
          </p:cNvPr>
          <p:cNvSpPr/>
          <p:nvPr/>
        </p:nvSpPr>
        <p:spPr>
          <a:xfrm>
            <a:off x="4951608" y="2311811"/>
            <a:ext cx="1879600" cy="1054718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Experience</a:t>
            </a:r>
            <a:endParaRPr lang="pl-PL" sz="1300" noProof="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39EA5EA-5E12-EF32-0740-BD917168A415}"/>
              </a:ext>
            </a:extLst>
          </p:cNvPr>
          <p:cNvSpPr/>
          <p:nvPr/>
        </p:nvSpPr>
        <p:spPr>
          <a:xfrm>
            <a:off x="7079347" y="2289734"/>
            <a:ext cx="1879600" cy="1054718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Education</a:t>
            </a:r>
            <a:endParaRPr lang="pl-PL" sz="13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462214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 (2/7)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515257" y="2990170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515257" y="365049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15257" y="426197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" name="Picture 1" descr="Silhouette of a construction site">
            <a:extLst>
              <a:ext uri="{FF2B5EF4-FFF2-40B4-BE49-F238E27FC236}">
                <a16:creationId xmlns:a16="http://schemas.microsoft.com/office/drawing/2014/main" id="{1AA6439A-1294-97ED-FDCB-829739B1B1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8969" y="1027113"/>
            <a:ext cx="1645138" cy="109649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2977883-84CB-76EE-7016-47C0F27EF5A0}"/>
              </a:ext>
            </a:extLst>
          </p:cNvPr>
          <p:cNvSpPr/>
          <p:nvPr/>
        </p:nvSpPr>
        <p:spPr>
          <a:xfrm>
            <a:off x="3556907" y="244042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D5E82F-2D6B-5B9A-B1DE-2967DDA8446C}"/>
              </a:ext>
            </a:extLst>
          </p:cNvPr>
          <p:cNvSpPr/>
          <p:nvPr/>
        </p:nvSpPr>
        <p:spPr>
          <a:xfrm>
            <a:off x="3556907" y="3013965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DB7594E-7CB1-FEF9-D672-880B412A0A9B}"/>
              </a:ext>
            </a:extLst>
          </p:cNvPr>
          <p:cNvSpPr/>
          <p:nvPr/>
        </p:nvSpPr>
        <p:spPr>
          <a:xfrm>
            <a:off x="3556907" y="3674288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A66F19F-5C6E-A24E-8FA1-1F9E183BCD14}"/>
              </a:ext>
            </a:extLst>
          </p:cNvPr>
          <p:cNvSpPr/>
          <p:nvPr/>
        </p:nvSpPr>
        <p:spPr>
          <a:xfrm>
            <a:off x="3556907" y="428577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6" name="Picture 25" descr="Silhouette of a construction site">
            <a:extLst>
              <a:ext uri="{FF2B5EF4-FFF2-40B4-BE49-F238E27FC236}">
                <a16:creationId xmlns:a16="http://schemas.microsoft.com/office/drawing/2014/main" id="{10633AD2-5389-1ABA-8B27-8F4ACC2AEA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1205" y="1059402"/>
            <a:ext cx="1645138" cy="1096491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D2F7EDB6-3558-FEBB-B438-8B68F562EDF2}"/>
              </a:ext>
            </a:extLst>
          </p:cNvPr>
          <p:cNvSpPr/>
          <p:nvPr/>
        </p:nvSpPr>
        <p:spPr>
          <a:xfrm>
            <a:off x="6749143" y="247271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C622D5B-E1A2-CF4A-7E80-251C4C61DE99}"/>
              </a:ext>
            </a:extLst>
          </p:cNvPr>
          <p:cNvSpPr/>
          <p:nvPr/>
        </p:nvSpPr>
        <p:spPr>
          <a:xfrm>
            <a:off x="6749143" y="304625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E9B99B9-234D-08D6-9D3F-C2226DF3206F}"/>
              </a:ext>
            </a:extLst>
          </p:cNvPr>
          <p:cNvSpPr/>
          <p:nvPr/>
        </p:nvSpPr>
        <p:spPr>
          <a:xfrm>
            <a:off x="6749143" y="3706577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C9804B5-36CF-2E9F-2322-45E3F12FD283}"/>
              </a:ext>
            </a:extLst>
          </p:cNvPr>
          <p:cNvSpPr/>
          <p:nvPr/>
        </p:nvSpPr>
        <p:spPr>
          <a:xfrm>
            <a:off x="6749143" y="431806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944265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 (3/7)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515257" y="2990170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515257" y="365049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15257" y="426197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" name="Picture 1" descr="Silhouette of a construction site">
            <a:extLst>
              <a:ext uri="{FF2B5EF4-FFF2-40B4-BE49-F238E27FC236}">
                <a16:creationId xmlns:a16="http://schemas.microsoft.com/office/drawing/2014/main" id="{1AA6439A-1294-97ED-FDCB-829739B1B1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8969" y="1027113"/>
            <a:ext cx="1645138" cy="109649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2977883-84CB-76EE-7016-47C0F27EF5A0}"/>
              </a:ext>
            </a:extLst>
          </p:cNvPr>
          <p:cNvSpPr/>
          <p:nvPr/>
        </p:nvSpPr>
        <p:spPr>
          <a:xfrm>
            <a:off x="3556907" y="244042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D5E82F-2D6B-5B9A-B1DE-2967DDA8446C}"/>
              </a:ext>
            </a:extLst>
          </p:cNvPr>
          <p:cNvSpPr/>
          <p:nvPr/>
        </p:nvSpPr>
        <p:spPr>
          <a:xfrm>
            <a:off x="3556907" y="3013965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DB7594E-7CB1-FEF9-D672-880B412A0A9B}"/>
              </a:ext>
            </a:extLst>
          </p:cNvPr>
          <p:cNvSpPr/>
          <p:nvPr/>
        </p:nvSpPr>
        <p:spPr>
          <a:xfrm>
            <a:off x="3556907" y="3674288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A66F19F-5C6E-A24E-8FA1-1F9E183BCD14}"/>
              </a:ext>
            </a:extLst>
          </p:cNvPr>
          <p:cNvSpPr/>
          <p:nvPr/>
        </p:nvSpPr>
        <p:spPr>
          <a:xfrm>
            <a:off x="3556907" y="428577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6" name="Picture 25" descr="Silhouette of a construction site">
            <a:extLst>
              <a:ext uri="{FF2B5EF4-FFF2-40B4-BE49-F238E27FC236}">
                <a16:creationId xmlns:a16="http://schemas.microsoft.com/office/drawing/2014/main" id="{10633AD2-5389-1ABA-8B27-8F4ACC2AEA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1205" y="1059402"/>
            <a:ext cx="1645138" cy="1096491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D2F7EDB6-3558-FEBB-B438-8B68F562EDF2}"/>
              </a:ext>
            </a:extLst>
          </p:cNvPr>
          <p:cNvSpPr/>
          <p:nvPr/>
        </p:nvSpPr>
        <p:spPr>
          <a:xfrm>
            <a:off x="6749143" y="247271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C622D5B-E1A2-CF4A-7E80-251C4C61DE99}"/>
              </a:ext>
            </a:extLst>
          </p:cNvPr>
          <p:cNvSpPr/>
          <p:nvPr/>
        </p:nvSpPr>
        <p:spPr>
          <a:xfrm>
            <a:off x="6749143" y="304625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E9B99B9-234D-08D6-9D3F-C2226DF3206F}"/>
              </a:ext>
            </a:extLst>
          </p:cNvPr>
          <p:cNvSpPr/>
          <p:nvPr/>
        </p:nvSpPr>
        <p:spPr>
          <a:xfrm>
            <a:off x="6749143" y="3706577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C9804B5-36CF-2E9F-2322-45E3F12FD283}"/>
              </a:ext>
            </a:extLst>
          </p:cNvPr>
          <p:cNvSpPr/>
          <p:nvPr/>
        </p:nvSpPr>
        <p:spPr>
          <a:xfrm>
            <a:off x="6749143" y="431806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850376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 (4/7)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515257" y="2990170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515257" y="365049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15257" y="426197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" name="Picture 1" descr="Silhouette of a construction site">
            <a:extLst>
              <a:ext uri="{FF2B5EF4-FFF2-40B4-BE49-F238E27FC236}">
                <a16:creationId xmlns:a16="http://schemas.microsoft.com/office/drawing/2014/main" id="{1AA6439A-1294-97ED-FDCB-829739B1B1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8969" y="1027113"/>
            <a:ext cx="1645138" cy="109649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2977883-84CB-76EE-7016-47C0F27EF5A0}"/>
              </a:ext>
            </a:extLst>
          </p:cNvPr>
          <p:cNvSpPr/>
          <p:nvPr/>
        </p:nvSpPr>
        <p:spPr>
          <a:xfrm>
            <a:off x="3556907" y="244042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D5E82F-2D6B-5B9A-B1DE-2967DDA8446C}"/>
              </a:ext>
            </a:extLst>
          </p:cNvPr>
          <p:cNvSpPr/>
          <p:nvPr/>
        </p:nvSpPr>
        <p:spPr>
          <a:xfrm>
            <a:off x="3556907" y="3013965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DB7594E-7CB1-FEF9-D672-880B412A0A9B}"/>
              </a:ext>
            </a:extLst>
          </p:cNvPr>
          <p:cNvSpPr/>
          <p:nvPr/>
        </p:nvSpPr>
        <p:spPr>
          <a:xfrm>
            <a:off x="3556907" y="3674288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A66F19F-5C6E-A24E-8FA1-1F9E183BCD14}"/>
              </a:ext>
            </a:extLst>
          </p:cNvPr>
          <p:cNvSpPr/>
          <p:nvPr/>
        </p:nvSpPr>
        <p:spPr>
          <a:xfrm>
            <a:off x="3556907" y="428577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6" name="Picture 25" descr="Silhouette of a construction site">
            <a:extLst>
              <a:ext uri="{FF2B5EF4-FFF2-40B4-BE49-F238E27FC236}">
                <a16:creationId xmlns:a16="http://schemas.microsoft.com/office/drawing/2014/main" id="{10633AD2-5389-1ABA-8B27-8F4ACC2AEA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1205" y="1059402"/>
            <a:ext cx="1645138" cy="1096491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D2F7EDB6-3558-FEBB-B438-8B68F562EDF2}"/>
              </a:ext>
            </a:extLst>
          </p:cNvPr>
          <p:cNvSpPr/>
          <p:nvPr/>
        </p:nvSpPr>
        <p:spPr>
          <a:xfrm>
            <a:off x="6749143" y="247271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C622D5B-E1A2-CF4A-7E80-251C4C61DE99}"/>
              </a:ext>
            </a:extLst>
          </p:cNvPr>
          <p:cNvSpPr/>
          <p:nvPr/>
        </p:nvSpPr>
        <p:spPr>
          <a:xfrm>
            <a:off x="6749143" y="304625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E9B99B9-234D-08D6-9D3F-C2226DF3206F}"/>
              </a:ext>
            </a:extLst>
          </p:cNvPr>
          <p:cNvSpPr/>
          <p:nvPr/>
        </p:nvSpPr>
        <p:spPr>
          <a:xfrm>
            <a:off x="6749143" y="3706577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C9804B5-36CF-2E9F-2322-45E3F12FD283}"/>
              </a:ext>
            </a:extLst>
          </p:cNvPr>
          <p:cNvSpPr/>
          <p:nvPr/>
        </p:nvSpPr>
        <p:spPr>
          <a:xfrm>
            <a:off x="6749143" y="431806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758390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1/4 [1]&quot; Source=&quot;Harvey 4&quot; /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2/4 [2]&quot; Source=&quot;Harvey 4&quot; /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3/4 [3]&quot; Source=&quot;Harvey 4&quot; /&gt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4/4 [4]&quot; Source=&quot;Harvey 4&quot; /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0/8 [0]&quot; Source=&quot;Harvey 8&quot; /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1/8 [1]&quot; Source=&quot;Harvey 8&quot; /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2/8 [2]&quot; Source=&quot;Harvey 8&quot; /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3/8 [3]&quot; Source=&quot;Harvey 8&quot; /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4/8 [4]&quot; Source=&quot;Harvey 8&quot; /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5/8 [5]&quot; Source=&quot;Harvey 8&quot; /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8&quot; Source=&quot;Harvey 8&quot; /&gt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6/8 [6]&quot; Source=&quot;Harvey 8&quot; /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7/8 [7]&quot; Source=&quot;Harvey 8&quot; /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8/8 [8]&quot; Source=&quot;Harvey 8&quot; /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4&quot; Source=&quot;Harvey 4&quot; /&gt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3&quot; Source=&quot;Harvey 3&quot; /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0/3 [0]&quot; Source=&quot;Harvey 3&quot; /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1/3 [1]&quot; Source=&quot;Harvey 3&quot; /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2/3 [2]&quot; Source=&quot;Harvey 3&quot; /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3/3 [3]&quot; Source=&quot;Harvey 3&quot; /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0/4 [0]&quot; Source=&quot;Harvey 4&quot; /&gt;"/>
</p:tagLst>
</file>

<file path=ppt/theme/theme1.xml><?xml version="1.0" encoding="utf-8"?>
<a:theme xmlns:a="http://schemas.openxmlformats.org/drawingml/2006/main" name="Orsted">
  <a:themeElements>
    <a:clrScheme name="Orsted 2021">
      <a:dk1>
        <a:srgbClr val="000000"/>
      </a:dk1>
      <a:lt1>
        <a:srgbClr val="FFFFFF"/>
      </a:lt1>
      <a:dk2>
        <a:srgbClr val="3B4956"/>
      </a:dk2>
      <a:lt2>
        <a:srgbClr val="F5F6F7"/>
      </a:lt2>
      <a:accent1>
        <a:srgbClr val="4099DA"/>
      </a:accent1>
      <a:accent2>
        <a:srgbClr val="8ECDC8"/>
      </a:accent2>
      <a:accent3>
        <a:srgbClr val="644C76"/>
      </a:accent3>
      <a:accent4>
        <a:srgbClr val="D8D1CA"/>
      </a:accent4>
      <a:accent5>
        <a:srgbClr val="B7ADA5"/>
      </a:accent5>
      <a:accent6>
        <a:srgbClr val="99A4AE"/>
      </a:accent6>
      <a:hlink>
        <a:srgbClr val="4099DA"/>
      </a:hlink>
      <a:folHlink>
        <a:srgbClr val="4099DA"/>
      </a:folHlink>
    </a:clrScheme>
    <a:fontScheme name="Orsted Sans 2021">
      <a:majorFont>
        <a:latin typeface="Orsted Sans Office"/>
        <a:ea typeface=""/>
        <a:cs typeface=""/>
      </a:majorFont>
      <a:minorFont>
        <a:latin typeface="Orsted Sans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96000"/>
          </a:lnSpc>
          <a:defRPr sz="1300" noProof="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96000"/>
          </a:lnSpc>
          <a:spcBef>
            <a:spcPts val="1800"/>
          </a:spcBef>
          <a:defRPr sz="1300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Blue">
      <a:srgbClr val="4099DA"/>
    </a:custClr>
    <a:custClr name="Aubergine">
      <a:srgbClr val="644C76"/>
    </a:custClr>
    <a:custClr name="Aqua">
      <a:srgbClr val="8ECDC8"/>
    </a:custClr>
    <a:custClr name="Yellow">
      <a:srgbClr val="F3D779"/>
    </a:custClr>
    <a:custClr name="Red">
      <a:srgbClr val="E85757"/>
    </a:custClr>
    <a:custClr name="Cold grey">
      <a:srgbClr val="3B4956"/>
    </a:custClr>
    <a:custClr name="Warm grey">
      <a:srgbClr val="B7ADA5"/>
    </a:custClr>
  </a:custClrLst>
  <a:extLst>
    <a:ext uri="{05A4C25C-085E-4340-85A3-A5531E510DB2}">
      <thm15:themeFamily xmlns:thm15="http://schemas.microsoft.com/office/thememl/2012/main" name="16-9 Orsted Standard - Orsted Office Sans.pptx" id="{D674062B-F116-4539-B93F-80A252139B4E}" vid="{501DEE4C-7CE8-4E01-83A2-CDD3443A5E48}"/>
    </a:ext>
  </a:extLst>
</a:theme>
</file>

<file path=ppt/theme/theme2.xml><?xml version="1.0" encoding="utf-8"?>
<a:theme xmlns:a="http://schemas.openxmlformats.org/drawingml/2006/main" name="Office-tema">
  <a:themeElements>
    <a:clrScheme name="Kontor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ue">
      <a:srgbClr val="4099DA"/>
    </a:custClr>
    <a:custClr name="Aubergine">
      <a:srgbClr val="644C76"/>
    </a:custClr>
    <a:custClr name="Aqua">
      <a:srgbClr val="8ECDC8"/>
    </a:custClr>
    <a:custClr name="Yellow">
      <a:srgbClr val="F3D779"/>
    </a:custClr>
    <a:custClr name="Red">
      <a:srgbClr val="E85757"/>
    </a:custClr>
    <a:custClr name="Cold grey">
      <a:srgbClr val="3B4956"/>
    </a:custClr>
    <a:custClr name="Warm grey">
      <a:srgbClr val="B7ADA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ue">
      <a:srgbClr val="4099DA"/>
    </a:custClr>
    <a:custClr name="Aubergine">
      <a:srgbClr val="644C76"/>
    </a:custClr>
    <a:custClr name="Aqua">
      <a:srgbClr val="8ECDC8"/>
    </a:custClr>
    <a:custClr name="Yellow">
      <a:srgbClr val="F3D779"/>
    </a:custClr>
    <a:custClr name="Red">
      <a:srgbClr val="E85757"/>
    </a:custClr>
    <a:custClr name="Cold grey">
      <a:srgbClr val="3B4956"/>
    </a:custClr>
    <a:custClr name="Warm grey">
      <a:srgbClr val="B7ADA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sDecafy xmlns="d28a985e-5dd5-4de5-8d45-33c71db132d5">false</IsDecafy>
    <_dlc_DocId xmlns="b9fa2689-23e1-470a-a57e-b1145bf90d8a">Deca00003229-972600388-12685</_dlc_DocId>
    <_dlc_DocIdUrl xmlns="b9fa2689-23e1-470a-a57e-b1145bf90d8a">
      <Url>https://dongenergy.sharepoint.com/sites/WSClientDoc/_layouts/15/DocIdRedir.aspx?ID=Deca00003229-972600388-12685</Url>
      <Description>Deca00003229-972600388-12685</Description>
    </_dlc_DocIdUrl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CA43072E641F443A8FF06C6F6FAB00C" ma:contentTypeVersion="12" ma:contentTypeDescription="Create a new document." ma:contentTypeScope="" ma:versionID="44f7f8b9bcd875eb0177f86d65eb8c66">
  <xsd:schema xmlns:xsd="http://www.w3.org/2001/XMLSchema" xmlns:xs="http://www.w3.org/2001/XMLSchema" xmlns:p="http://schemas.microsoft.com/office/2006/metadata/properties" xmlns:ns2="b9fa2689-23e1-470a-a57e-b1145bf90d8a" xmlns:ns3="d28a985e-5dd5-4de5-8d45-33c71db132d5" targetNamespace="http://schemas.microsoft.com/office/2006/metadata/properties" ma:root="true" ma:fieldsID="274fda35af0db3fea021229faa95f249" ns2:_="" ns3:_="">
    <xsd:import namespace="b9fa2689-23e1-470a-a57e-b1145bf90d8a"/>
    <xsd:import namespace="d28a985e-5dd5-4de5-8d45-33c71db132d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IsDecafy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LengthInSeconds" minOccurs="0"/>
                <xsd:element ref="ns3:MediaServiceAutoTags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fa2689-23e1-470a-a57e-b1145bf90d8a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28a985e-5dd5-4de5-8d45-33c71db132d5" elementFormDefault="qualified">
    <xsd:import namespace="http://schemas.microsoft.com/office/2006/documentManagement/types"/>
    <xsd:import namespace="http://schemas.microsoft.com/office/infopath/2007/PartnerControls"/>
    <xsd:element name="IsDecafy" ma:index="11" nillable="true" ma:displayName="IsDecafy" ma:default="true" ma:description="This is a hidden column to identify if the Library has Decafy." ma:hidden="true" ma:internalName="IsDecafy">
      <xsd:simpleType>
        <xsd:restriction base="dms:Boolean"/>
      </xsd:simpleType>
    </xsd:element>
    <xsd:element name="MediaServiceMetadata" ma:index="12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MediaServiceAutoTags" ma:index="18" nillable="true" ma:displayName="Tags" ma:internalName="MediaServiceAutoTags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FAB38F9-0158-4662-BB5F-013E209211C7}">
  <ds:schemaRefs>
    <ds:schemaRef ds:uri="http://purl.org/dc/terms/"/>
    <ds:schemaRef ds:uri="d28a985e-5dd5-4de5-8d45-33c71db132d5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b9fa2689-23e1-470a-a57e-b1145bf90d8a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178E6830-2DA2-47BA-AFF8-12996D7D247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E6D29AB-971F-47DA-9B81-9A346C5A1A19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695FD6D3-617E-4D46-AB12-0659D902317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9fa2689-23e1-470a-a57e-b1145bf90d8a"/>
    <ds:schemaRef ds:uri="d28a985e-5dd5-4de5-8d45-33c71db132d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0</TotalTime>
  <Words>156</Words>
  <Application>Microsoft Office PowerPoint</Application>
  <PresentationFormat>On-screen Show (16:9)</PresentationFormat>
  <Paragraphs>123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7" baseType="lpstr">
      <vt:lpstr>Orsted Sans Office</vt:lpstr>
      <vt:lpstr>Arial</vt:lpstr>
      <vt:lpstr>Arial Black</vt:lpstr>
      <vt:lpstr>Orsted</vt:lpstr>
      <vt:lpstr>think-cell Slide</vt:lpstr>
      <vt:lpstr>Team portfolio</vt:lpstr>
      <vt:lpstr>Main Competency &amp; Skills</vt:lpstr>
      <vt:lpstr>Team</vt:lpstr>
      <vt:lpstr>Team</vt:lpstr>
      <vt:lpstr>Team</vt:lpstr>
      <vt:lpstr>Team (1/7)</vt:lpstr>
      <vt:lpstr>Team (2/7)</vt:lpstr>
      <vt:lpstr>Team (3/7)</vt:lpstr>
      <vt:lpstr>Team (4/7)</vt:lpstr>
      <vt:lpstr>Team (5/7)</vt:lpstr>
      <vt:lpstr>Team (6/7)</vt:lpstr>
      <vt:lpstr>Team (7/7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rolina Kowalska</dc:creator>
  <cp:keywords/>
  <cp:lastModifiedBy>Kamila Kazimierska</cp:lastModifiedBy>
  <cp:revision>4</cp:revision>
  <dcterms:created xsi:type="dcterms:W3CDTF">2023-10-20T12:25:09Z</dcterms:created>
  <dcterms:modified xsi:type="dcterms:W3CDTF">2023-12-07T13:07:02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fyTimeStamp">
    <vt:lpwstr>2021-10-04T12:47:59.7346127Z</vt:lpwstr>
  </property>
  <property fmtid="{D5CDD505-2E9C-101B-9397-08002B2CF9AE}" pid="3" name="ContentTypeId">
    <vt:lpwstr>0x010100DCA43072E641F443A8FF06C6F6FAB00C</vt:lpwstr>
  </property>
  <property fmtid="{D5CDD505-2E9C-101B-9397-08002B2CF9AE}" pid="4" name="_dlc_DocIdItemGuid">
    <vt:lpwstr>419b5c9a-0e58-4676-828f-997d030c5461</vt:lpwstr>
  </property>
  <property fmtid="{D5CDD505-2E9C-101B-9397-08002B2CF9AE}" pid="5" name="MSIP_Label_b8d9a29f-7d17-4193-85e4-1bef0fc2e901_Enabled">
    <vt:lpwstr>true</vt:lpwstr>
  </property>
  <property fmtid="{D5CDD505-2E9C-101B-9397-08002B2CF9AE}" pid="6" name="MSIP_Label_b8d9a29f-7d17-4193-85e4-1bef0fc2e901_SetDate">
    <vt:lpwstr>2023-01-26T05:00:08Z</vt:lpwstr>
  </property>
  <property fmtid="{D5CDD505-2E9C-101B-9397-08002B2CF9AE}" pid="7" name="MSIP_Label_b8d9a29f-7d17-4193-85e4-1bef0fc2e901_Method">
    <vt:lpwstr>Standard</vt:lpwstr>
  </property>
  <property fmtid="{D5CDD505-2E9C-101B-9397-08002B2CF9AE}" pid="8" name="MSIP_Label_b8d9a29f-7d17-4193-85e4-1bef0fc2e901_Name">
    <vt:lpwstr>b8d9a29f-7d17-4193-85e4-1bef0fc2e901</vt:lpwstr>
  </property>
  <property fmtid="{D5CDD505-2E9C-101B-9397-08002B2CF9AE}" pid="9" name="MSIP_Label_b8d9a29f-7d17-4193-85e4-1bef0fc2e901_SiteId">
    <vt:lpwstr>100b3c99-f3e2-4da0-9c8a-b9d345742c36</vt:lpwstr>
  </property>
  <property fmtid="{D5CDD505-2E9C-101B-9397-08002B2CF9AE}" pid="10" name="MSIP_Label_b8d9a29f-7d17-4193-85e4-1bef0fc2e901_ActionId">
    <vt:lpwstr>25fefe53-adc1-421d-86aa-12f2411af06e</vt:lpwstr>
  </property>
  <property fmtid="{D5CDD505-2E9C-101B-9397-08002B2CF9AE}" pid="11" name="MSIP_Label_b8d9a29f-7d17-4193-85e4-1bef0fc2e901_ContentBits">
    <vt:lpwstr>1</vt:lpwstr>
  </property>
</Properties>
</file>